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56" r:id="rId5"/>
    <p:sldId id="277" r:id="rId6"/>
    <p:sldId id="258" r:id="rId7"/>
    <p:sldId id="280" r:id="rId8"/>
    <p:sldId id="281" r:id="rId9"/>
    <p:sldId id="282" r:id="rId10"/>
    <p:sldId id="283" r:id="rId11"/>
    <p:sldId id="284" r:id="rId12"/>
    <p:sldId id="304" r:id="rId13"/>
    <p:sldId id="305" r:id="rId14"/>
    <p:sldId id="306" r:id="rId15"/>
    <p:sldId id="261" r:id="rId16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1" autoAdjust="0"/>
    <p:restoredTop sz="96182" autoAdjust="0"/>
  </p:normalViewPr>
  <p:slideViewPr>
    <p:cSldViewPr snapToGrid="0">
      <p:cViewPr varScale="1">
        <p:scale>
          <a:sx n="78" d="100"/>
          <a:sy n="78" d="100"/>
        </p:scale>
        <p:origin x="56" y="28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/7/2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66292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7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15465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Subtitle 9800"/>
          <p:cNvSpPr>
            <a:spLocks noGrp="1"/>
          </p:cNvSpPr>
          <p:nvPr userDrawn="1">
            <p:ph type="subTitle" idx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Title 9801"/>
          <p:cNvSpPr>
            <a:spLocks noGrp="1"/>
          </p:cNvSpPr>
          <p:nvPr userDrawn="1">
            <p:ph type="ctrTitle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Text Placeholder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Graphic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>
            <a:fillRect/>
          </a:stretch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4/7/2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4/7/28</a:t>
            </a:fld>
            <a:endParaRPr lang="zh-CN" alt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3" name="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041399" y="5633743"/>
            <a:ext cx="7175501" cy="313932"/>
          </a:xfrm>
        </p:spPr>
        <p:txBody>
          <a:bodyPr>
            <a:spAutoFit/>
          </a:bodyPr>
          <a:lstStyle/>
          <a:p>
            <a:pPr lvl="0">
              <a:defRPr/>
            </a:pPr>
            <a:r>
              <a:rPr lang="en-US" altLang="zh-CN" spc="600" dirty="0">
                <a:solidFill>
                  <a:srgbClr val="D1E1EB"/>
                </a:solidFill>
                <a:cs typeface="+mn-ea"/>
                <a:sym typeface="+mn-lt"/>
              </a:rPr>
              <a:t>Final Report –</a:t>
            </a:r>
            <a:r>
              <a:rPr lang="en-US" altLang="zh-CN" spc="600" dirty="0" err="1">
                <a:solidFill>
                  <a:srgbClr val="D1E1EB"/>
                </a:solidFill>
                <a:cs typeface="+mn-ea"/>
                <a:sym typeface="+mn-lt"/>
              </a:rPr>
              <a:t>BaizonnLearningCenter</a:t>
            </a:r>
            <a:endParaRPr lang="en-US" altLang="zh-CN" spc="600" dirty="0">
              <a:solidFill>
                <a:srgbClr val="D1E1EB"/>
              </a:solidFill>
              <a:cs typeface="+mn-ea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41399" y="4012757"/>
            <a:ext cx="7175501" cy="1311128"/>
          </a:xfrm>
        </p:spPr>
        <p:txBody>
          <a:bodyPr>
            <a:spAutoFit/>
          </a:bodyPr>
          <a:lstStyle/>
          <a:p>
            <a:pPr lvl="0">
              <a:defRPr/>
            </a:pPr>
            <a:r>
              <a:rPr lang="en-US" altLang="zh-CN" sz="4400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CP3402</a:t>
            </a:r>
            <a:r>
              <a:rPr lang="en-US" altLang="zh-CN" sz="4400" b="0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4400" dirty="0">
                <a:solidFill>
                  <a:schemeClr val="accent1"/>
                </a:solidFill>
                <a:latin typeface="+mj-ea"/>
                <a:ea typeface="+mj-ea"/>
              </a:rPr>
              <a:t>Content Management System</a:t>
            </a:r>
            <a:endParaRPr lang="zh-CN" altLang="en-US" sz="4400" b="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331199" y="3065666"/>
            <a:ext cx="2565401" cy="286232"/>
          </a:xfrm>
        </p:spPr>
        <p:txBody>
          <a:bodyPr>
            <a:spAutoFit/>
          </a:bodyPr>
          <a:lstStyle/>
          <a:p>
            <a:r>
              <a:rPr lang="en-US" altLang="zh-CN" dirty="0">
                <a:cs typeface="+mn-ea"/>
                <a:sym typeface="+mn-lt"/>
              </a:rPr>
              <a:t>Group 2B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8331199" y="3361937"/>
            <a:ext cx="2565401" cy="286232"/>
          </a:xfrm>
        </p:spPr>
        <p:txBody>
          <a:bodyPr>
            <a:spAutoFit/>
          </a:bodyPr>
          <a:lstStyle/>
          <a:p>
            <a:r>
              <a:rPr lang="en-US" altLang="en-US" dirty="0">
                <a:cs typeface="+mn-ea"/>
                <a:sym typeface="+mn-lt"/>
              </a:rPr>
              <a:t>28/07/2024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b="1" dirty="0">
                <a:cs typeface="+mn-ea"/>
                <a:sym typeface="+mn-lt"/>
              </a:rPr>
              <a:t>Deploy to Staging Environm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FCF4B8-549B-489B-A405-24A231CCBE24}"/>
              </a:ext>
            </a:extLst>
          </p:cNvPr>
          <p:cNvSpPr txBox="1"/>
          <p:nvPr/>
        </p:nvSpPr>
        <p:spPr>
          <a:xfrm>
            <a:off x="669923" y="1951672"/>
            <a:ext cx="4509295" cy="1723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800" dirty="0" err="1"/>
              <a:t>SiteGround</a:t>
            </a:r>
            <a:r>
              <a:rPr lang="en-US" altLang="zh-CN" sz="1800" dirty="0"/>
              <a:t> is popular worldwide with 2.8 million users, chosen for its ease of use, high-performance servers, and excellent support, making it suitable for various websites.</a:t>
            </a:r>
            <a:endParaRPr lang="zh-CN" altLang="en-US" sz="1800" dirty="0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CD1E543E-30A5-C99B-FE20-34BF31EA79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069" y="1855182"/>
            <a:ext cx="6367192" cy="3640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546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b="1" dirty="0">
                <a:cs typeface="+mn-ea"/>
                <a:sym typeface="+mn-lt"/>
              </a:rPr>
              <a:t>Live Site</a:t>
            </a:r>
          </a:p>
        </p:txBody>
      </p:sp>
      <p:pic>
        <p:nvPicPr>
          <p:cNvPr id="4" name="Picture 3" descr="A person standing in front of a blackboard with a hot air balloon&#10;&#10;Description automatically generated">
            <a:extLst>
              <a:ext uri="{FF2B5EF4-FFF2-40B4-BE49-F238E27FC236}">
                <a16:creationId xmlns:a16="http://schemas.microsoft.com/office/drawing/2014/main" id="{B95658AC-E608-62F0-111D-61B4E15EB6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89801">
            <a:off x="795020" y="1413844"/>
            <a:ext cx="4599086" cy="2658496"/>
          </a:xfrm>
          <a:prstGeom prst="rect">
            <a:avLst/>
          </a:prstGeom>
        </p:spPr>
      </p:pic>
      <p:pic>
        <p:nvPicPr>
          <p:cNvPr id="8" name="Picture 7" descr="Several screenshots of a group of people&#10;&#10;Description automatically generated">
            <a:extLst>
              <a:ext uri="{FF2B5EF4-FFF2-40B4-BE49-F238E27FC236}">
                <a16:creationId xmlns:a16="http://schemas.microsoft.com/office/drawing/2014/main" id="{68B82798-CD8B-62FA-E3F9-088B2E7CA1E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05545">
            <a:off x="5846317" y="1216094"/>
            <a:ext cx="4337662" cy="2592689"/>
          </a:xfrm>
          <a:prstGeom prst="rect">
            <a:avLst/>
          </a:prstGeom>
        </p:spPr>
      </p:pic>
      <p:pic>
        <p:nvPicPr>
          <p:cNvPr id="10" name="Picture 9" descr="A colorful background with text&#10;&#10;Description automatically generated with medium confidence">
            <a:extLst>
              <a:ext uri="{FF2B5EF4-FFF2-40B4-BE49-F238E27FC236}">
                <a16:creationId xmlns:a16="http://schemas.microsoft.com/office/drawing/2014/main" id="{90F85831-5D3E-B5BA-A3A3-54505FCFED8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1494">
            <a:off x="7312570" y="3841393"/>
            <a:ext cx="4057066" cy="2295062"/>
          </a:xfrm>
          <a:prstGeom prst="rect">
            <a:avLst/>
          </a:prstGeom>
        </p:spPr>
      </p:pic>
      <p:pic>
        <p:nvPicPr>
          <p:cNvPr id="12" name="Picture 11" descr="A screenshot of a web page&#10;&#10;Description automatically generated">
            <a:extLst>
              <a:ext uri="{FF2B5EF4-FFF2-40B4-BE49-F238E27FC236}">
                <a16:creationId xmlns:a16="http://schemas.microsoft.com/office/drawing/2014/main" id="{36DD326F-0896-1AD5-0E38-1F2C2EBA3C5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86375">
            <a:off x="928993" y="3705174"/>
            <a:ext cx="4090742" cy="2450292"/>
          </a:xfrm>
          <a:prstGeom prst="rect">
            <a:avLst/>
          </a:prstGeom>
        </p:spPr>
      </p:pic>
      <p:pic>
        <p:nvPicPr>
          <p:cNvPr id="14" name="Picture 13" descr="A screenshot of a contact us&#10;&#10;Description automatically generated">
            <a:extLst>
              <a:ext uri="{FF2B5EF4-FFF2-40B4-BE49-F238E27FC236}">
                <a16:creationId xmlns:a16="http://schemas.microsoft.com/office/drawing/2014/main" id="{5541B7B6-F948-186C-0E5A-33A5EE7EABA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80033">
            <a:off x="4090846" y="3126227"/>
            <a:ext cx="4008125" cy="235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871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3" name="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346202" y="4087941"/>
            <a:ext cx="6426198" cy="535531"/>
          </a:xfrm>
        </p:spPr>
        <p:txBody>
          <a:bodyPr>
            <a:spAutoFit/>
          </a:bodyPr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Thanks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346202" y="5308199"/>
            <a:ext cx="6426198" cy="286232"/>
          </a:xfrm>
        </p:spPr>
        <p:txBody>
          <a:bodyPr>
            <a:spAutoFit/>
          </a:bodyPr>
          <a:lstStyle/>
          <a:p>
            <a:r>
              <a:rPr lang="en-US" altLang="en-US" dirty="0">
                <a:cs typeface="+mn-ea"/>
                <a:sym typeface="+mn-lt"/>
              </a:rPr>
              <a:t>28/07/2024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>
            <a:spAutoFit/>
          </a:bodyPr>
          <a:lstStyle/>
          <a:p>
            <a:r>
              <a:rPr lang="en-US" altLang="zh-CN" dirty="0">
                <a:cs typeface="+mn-ea"/>
                <a:sym typeface="+mn-lt"/>
              </a:rPr>
              <a:t>CP3402 Group2B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<p:cNvGrpSpPr/>
          <p:nvPr/>
        </p:nvGrpSpPr>
        <p:grpSpPr>
          <a:xfrm>
            <a:off x="1713245" y="1372444"/>
            <a:ext cx="8765511" cy="4113112"/>
            <a:chOff x="811491" y="1372444"/>
            <a:chExt cx="8765511" cy="4113112"/>
          </a:xfrm>
        </p:grpSpPr>
        <p:grpSp>
          <p:nvGrpSpPr>
            <p:cNvPr id="5" name="Group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  <p:cNvGrpSpPr>
              <a:grpSpLocks noChangeAspect="1"/>
            </p:cNvGrpSpPr>
            <p:nvPr/>
          </p:nvGrpSpPr>
          <p:grpSpPr>
            <a:xfrm>
              <a:off x="2614998" y="1372444"/>
              <a:ext cx="6962004" cy="4113112"/>
              <a:chOff x="2126734" y="1308673"/>
              <a:chExt cx="7535439" cy="4451893"/>
            </a:xfrm>
          </p:grpSpPr>
          <p:sp>
            <p:nvSpPr>
              <p:cNvPr id="6" name="Arrow: Pentagon 5"/>
              <p:cNvSpPr/>
              <p:nvPr/>
            </p:nvSpPr>
            <p:spPr>
              <a:xfrm>
                <a:off x="2581830" y="1513162"/>
                <a:ext cx="7080343" cy="581337"/>
              </a:xfrm>
              <a:prstGeom prst="homePlat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  <a:cs typeface="+mn-ea"/>
                    <a:sym typeface="+mn-lt"/>
                  </a:rPr>
                  <a:t>Our Team</a:t>
                </a:r>
              </a:p>
            </p:txBody>
          </p:sp>
          <p:sp>
            <p:nvSpPr>
              <p:cNvPr id="7" name="Isosceles Triangle 6"/>
              <p:cNvSpPr/>
              <p:nvPr/>
            </p:nvSpPr>
            <p:spPr>
              <a:xfrm rot="19800000" flipH="1">
                <a:off x="2126734" y="1308673"/>
                <a:ext cx="910194" cy="784643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" name="TextBox 7"/>
              <p:cNvSpPr txBox="1"/>
              <p:nvPr/>
            </p:nvSpPr>
            <p:spPr bwMode="auto">
              <a:xfrm>
                <a:off x="2408267" y="1574269"/>
                <a:ext cx="508712" cy="4663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algn="ctr"/>
                <a:r>
                  <a:rPr lang="en-US" altLang="ko-KR" sz="2000" b="1">
                    <a:solidFill>
                      <a:schemeClr val="bg1"/>
                    </a:solidFill>
                    <a:cs typeface="+mn-ea"/>
                    <a:sym typeface="+mn-lt"/>
                  </a:rPr>
                  <a:t>01</a:t>
                </a:r>
              </a:p>
            </p:txBody>
          </p:sp>
          <p:sp>
            <p:nvSpPr>
              <p:cNvPr id="9" name="Arrow: Pentagon 8"/>
              <p:cNvSpPr/>
              <p:nvPr/>
            </p:nvSpPr>
            <p:spPr>
              <a:xfrm>
                <a:off x="2581830" y="2429679"/>
                <a:ext cx="7080343" cy="581337"/>
              </a:xfrm>
              <a:prstGeom prst="homePlat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  <a:cs typeface="+mn-ea"/>
                    <a:sym typeface="+mn-lt"/>
                  </a:rPr>
                  <a:t>Development Platform</a:t>
                </a:r>
              </a:p>
            </p:txBody>
          </p:sp>
          <p:sp>
            <p:nvSpPr>
              <p:cNvPr id="10" name="Isosceles Triangle 9"/>
              <p:cNvSpPr/>
              <p:nvPr/>
            </p:nvSpPr>
            <p:spPr>
              <a:xfrm rot="19800000" flipH="1">
                <a:off x="2126734" y="2225190"/>
                <a:ext cx="910194" cy="784643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" name="TextBox 10"/>
              <p:cNvSpPr txBox="1"/>
              <p:nvPr/>
            </p:nvSpPr>
            <p:spPr bwMode="auto">
              <a:xfrm>
                <a:off x="2408267" y="2490787"/>
                <a:ext cx="508712" cy="4663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algn="ctr"/>
                <a:r>
                  <a:rPr lang="en-US" altLang="ko-KR" sz="2000" b="1">
                    <a:solidFill>
                      <a:schemeClr val="bg1"/>
                    </a:solidFill>
                    <a:cs typeface="+mn-ea"/>
                    <a:sym typeface="+mn-lt"/>
                  </a:rPr>
                  <a:t>02</a:t>
                </a:r>
              </a:p>
            </p:txBody>
          </p:sp>
          <p:sp>
            <p:nvSpPr>
              <p:cNvPr id="12" name="Arrow: Pentagon 11"/>
              <p:cNvSpPr/>
              <p:nvPr/>
            </p:nvSpPr>
            <p:spPr>
              <a:xfrm>
                <a:off x="2581830" y="3346196"/>
                <a:ext cx="7080343" cy="581337"/>
              </a:xfrm>
              <a:prstGeom prst="homePlat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  <a:cs typeface="+mn-ea"/>
                    <a:sym typeface="+mn-lt"/>
                  </a:rPr>
                  <a:t>Our Workflow</a:t>
                </a:r>
              </a:p>
            </p:txBody>
          </p:sp>
          <p:sp>
            <p:nvSpPr>
              <p:cNvPr id="13" name="Isosceles Triangle 12"/>
              <p:cNvSpPr/>
              <p:nvPr/>
            </p:nvSpPr>
            <p:spPr>
              <a:xfrm rot="19800000" flipH="1">
                <a:off x="2126734" y="3141707"/>
                <a:ext cx="910194" cy="784643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 bwMode="auto">
              <a:xfrm>
                <a:off x="2408267" y="3407304"/>
                <a:ext cx="508712" cy="4663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algn="ctr"/>
                <a:r>
                  <a:rPr lang="en-US" altLang="ko-KR" sz="2000" b="1">
                    <a:solidFill>
                      <a:schemeClr val="bg1"/>
                    </a:solidFill>
                    <a:cs typeface="+mn-ea"/>
                    <a:sym typeface="+mn-lt"/>
                  </a:rPr>
                  <a:t>03</a:t>
                </a:r>
              </a:p>
            </p:txBody>
          </p:sp>
          <p:sp>
            <p:nvSpPr>
              <p:cNvPr id="15" name="Arrow: Pentagon 14"/>
              <p:cNvSpPr/>
              <p:nvPr/>
            </p:nvSpPr>
            <p:spPr>
              <a:xfrm>
                <a:off x="2581830" y="4262713"/>
                <a:ext cx="7080343" cy="581337"/>
              </a:xfrm>
              <a:prstGeom prst="homePlat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  <a:cs typeface="+mn-ea"/>
                    <a:sym typeface="+mn-lt"/>
                  </a:rPr>
                  <a:t>Deploy Sites</a:t>
                </a:r>
              </a:p>
            </p:txBody>
          </p:sp>
          <p:sp>
            <p:nvSpPr>
              <p:cNvPr id="16" name="Isosceles Triangle 15"/>
              <p:cNvSpPr/>
              <p:nvPr/>
            </p:nvSpPr>
            <p:spPr>
              <a:xfrm rot="19800000" flipH="1">
                <a:off x="2126734" y="4058224"/>
                <a:ext cx="910194" cy="784643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" name="TextBox 16"/>
              <p:cNvSpPr txBox="1"/>
              <p:nvPr/>
            </p:nvSpPr>
            <p:spPr bwMode="auto">
              <a:xfrm>
                <a:off x="2408267" y="4323821"/>
                <a:ext cx="508712" cy="4663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algn="ctr"/>
                <a:r>
                  <a:rPr lang="en-US" altLang="ko-KR" sz="2000" b="1">
                    <a:solidFill>
                      <a:schemeClr val="bg1"/>
                    </a:solidFill>
                    <a:cs typeface="+mn-ea"/>
                    <a:sym typeface="+mn-lt"/>
                  </a:rPr>
                  <a:t>04</a:t>
                </a:r>
              </a:p>
            </p:txBody>
          </p:sp>
          <p:sp>
            <p:nvSpPr>
              <p:cNvPr id="18" name="Arrow: Pentagon 17"/>
              <p:cNvSpPr/>
              <p:nvPr/>
            </p:nvSpPr>
            <p:spPr>
              <a:xfrm>
                <a:off x="2581830" y="5179229"/>
                <a:ext cx="7080343" cy="581337"/>
              </a:xfrm>
              <a:prstGeom prst="homePlate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  <a:cs typeface="+mn-ea"/>
                    <a:sym typeface="+mn-lt"/>
                  </a:rPr>
                  <a:t>Web show</a:t>
                </a:r>
              </a:p>
            </p:txBody>
          </p:sp>
          <p:sp>
            <p:nvSpPr>
              <p:cNvPr id="20" name="Isosceles Triangle 19"/>
              <p:cNvSpPr/>
              <p:nvPr/>
            </p:nvSpPr>
            <p:spPr>
              <a:xfrm rot="19800000" flipH="1">
                <a:off x="2126734" y="4974740"/>
                <a:ext cx="910194" cy="784643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 bwMode="auto">
              <a:xfrm>
                <a:off x="2408267" y="5240336"/>
                <a:ext cx="508712" cy="4663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  <a:scene3d>
                  <a:camera prst="orthographicFront"/>
                  <a:lightRig rig="threePt" dir="t"/>
                </a:scene3d>
                <a:sp3d>
                  <a:bevelT w="1270" h="1270"/>
                </a:sp3d>
              </a:bodyPr>
              <a:lstStyle/>
              <a:p>
                <a:pPr algn="ctr"/>
                <a:r>
                  <a:rPr lang="en-US" altLang="ko-KR" sz="2000" b="1">
                    <a:solidFill>
                      <a:schemeClr val="bg1"/>
                    </a:solidFill>
                    <a:cs typeface="+mn-ea"/>
                    <a:sym typeface="+mn-lt"/>
                  </a:rPr>
                  <a:t>05</a:t>
                </a:r>
              </a:p>
            </p:txBody>
          </p:sp>
        </p:grpSp>
        <p:sp>
          <p:nvSpPr>
            <p:cNvPr id="22" name="Rectangle 21"/>
            <p:cNvSpPr/>
            <p:nvPr/>
          </p:nvSpPr>
          <p:spPr>
            <a:xfrm>
              <a:off x="811491" y="1376706"/>
              <a:ext cx="2044149" cy="369332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r>
                <a:rPr lang="en-US" altLang="zh-CN" dirty="0">
                  <a:cs typeface="+mn-ea"/>
                  <a:sym typeface="+mn-lt"/>
                </a:rPr>
                <a:t>CONTENTS </a:t>
              </a:r>
              <a:endParaRPr lang="zh-CN" altLang="en-US" dirty="0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53214" y="1564731"/>
            <a:ext cx="5419185" cy="535531"/>
          </a:xfrm>
        </p:spPr>
        <p:txBody>
          <a:bodyPr>
            <a:spAutoFit/>
          </a:bodyPr>
          <a:lstStyle/>
          <a:p>
            <a:r>
              <a:rPr lang="en-US" altLang="zh-CN" sz="3200" dirty="0">
                <a:latin typeface="+mn-lt"/>
                <a:ea typeface="+mn-ea"/>
                <a:cs typeface="+mn-ea"/>
                <a:sym typeface="+mn-lt"/>
              </a:rPr>
              <a:t>Team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 Members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2303207" y="2680608"/>
            <a:ext cx="6204999" cy="2539606"/>
          </a:xfrm>
        </p:spPr>
        <p:txBody>
          <a:bodyPr wrap="square">
            <a:spAutoFit/>
          </a:bodyPr>
          <a:lstStyle/>
          <a:p>
            <a:pPr lvl="0"/>
            <a:r>
              <a:rPr lang="en-US" altLang="zh-CN" sz="1800" dirty="0">
                <a:cs typeface="+mn-ea"/>
                <a:sym typeface="+mn-lt"/>
              </a:rPr>
              <a:t>Yuanyuan Chen</a:t>
            </a:r>
          </a:p>
          <a:p>
            <a:pPr lvl="0"/>
            <a:r>
              <a:rPr lang="en-US" altLang="zh-CN" sz="1800" dirty="0" err="1">
                <a:cs typeface="+mn-ea"/>
                <a:sym typeface="+mn-lt"/>
              </a:rPr>
              <a:t>Mengcen</a:t>
            </a:r>
            <a:r>
              <a:rPr lang="en-US" altLang="zh-CN" sz="1800" dirty="0">
                <a:cs typeface="+mn-ea"/>
                <a:sym typeface="+mn-lt"/>
              </a:rPr>
              <a:t> Kui</a:t>
            </a:r>
          </a:p>
          <a:p>
            <a:pPr lvl="0"/>
            <a:r>
              <a:rPr lang="vi-VN" altLang="zh-CN" sz="1800" i="0" dirty="0">
                <a:solidFill>
                  <a:srgbClr val="262626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Mike Zhi Fai (Liang Zhihui) Leong</a:t>
            </a:r>
            <a:endParaRPr lang="en-US" altLang="zh-CN" sz="1800" i="0" dirty="0">
              <a:solidFill>
                <a:srgbClr val="262626"/>
              </a:solidFill>
              <a:effectLst/>
              <a:highlight>
                <a:srgbClr val="FFFFFF"/>
              </a:highlight>
              <a:latin typeface="Open Sans" panose="020B0606030504020204" pitchFamily="34" charset="0"/>
            </a:endParaRPr>
          </a:p>
          <a:p>
            <a:pPr lvl="0"/>
            <a:r>
              <a:rPr lang="en-US" altLang="zh-CN" sz="1800" dirty="0" err="1">
                <a:solidFill>
                  <a:srgbClr val="262626"/>
                </a:solidFill>
                <a:highlight>
                  <a:srgbClr val="FFFFFF"/>
                </a:highlight>
                <a:latin typeface="Open Sans" panose="020B0606030504020204" pitchFamily="34" charset="0"/>
                <a:cs typeface="+mn-ea"/>
                <a:sym typeface="+mn-lt"/>
              </a:rPr>
              <a:t>Kaicheng</a:t>
            </a:r>
            <a:r>
              <a:rPr lang="en-US" altLang="zh-CN" sz="1800" dirty="0">
                <a:solidFill>
                  <a:srgbClr val="262626"/>
                </a:solidFill>
                <a:highlight>
                  <a:srgbClr val="FFFFFF"/>
                </a:highlight>
                <a:latin typeface="Open Sans" panose="020B0606030504020204" pitchFamily="34" charset="0"/>
                <a:cs typeface="+mn-ea"/>
                <a:sym typeface="+mn-lt"/>
              </a:rPr>
              <a:t> Liang</a:t>
            </a:r>
          </a:p>
          <a:p>
            <a:pPr lvl="0"/>
            <a:r>
              <a:rPr lang="en-US" altLang="zh-CN" sz="1800" dirty="0">
                <a:solidFill>
                  <a:srgbClr val="262626"/>
                </a:solidFill>
                <a:highlight>
                  <a:srgbClr val="FFFFFF"/>
                </a:highlight>
                <a:latin typeface="Open Sans" panose="020B0606030504020204" pitchFamily="34" charset="0"/>
                <a:cs typeface="+mn-ea"/>
                <a:sym typeface="+mn-lt"/>
              </a:rPr>
              <a:t>Qingbo Tan</a:t>
            </a:r>
          </a:p>
          <a:p>
            <a:pPr lvl="0"/>
            <a:r>
              <a:rPr lang="en-US" altLang="zh-CN" sz="1800" dirty="0">
                <a:solidFill>
                  <a:srgbClr val="262626"/>
                </a:solidFill>
                <a:highlight>
                  <a:srgbClr val="FFFFFF"/>
                </a:highlight>
                <a:latin typeface="Open Sans" panose="020B0606030504020204" pitchFamily="34" charset="0"/>
                <a:cs typeface="+mn-ea"/>
                <a:sym typeface="+mn-lt"/>
              </a:rPr>
              <a:t>Mei Zhong</a:t>
            </a:r>
            <a:endParaRPr lang="zh-CN" altLang="en-US" sz="1800" dirty="0">
              <a:cs typeface="+mn-ea"/>
              <a:sym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53604" y="172640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>
                <a:solidFill>
                  <a:schemeClr val="tx1"/>
                </a:solidFill>
                <a:cs typeface="+mn-ea"/>
                <a:sym typeface="+mn-lt"/>
              </a:rPr>
              <a:t>Development Platform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5" name="Group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816262" y="1371421"/>
            <a:ext cx="10276690" cy="4534258"/>
            <a:chOff x="816262" y="1371421"/>
            <a:chExt cx="10276690" cy="4534258"/>
          </a:xfrm>
        </p:grpSpPr>
        <p:sp>
          <p:nvSpPr>
            <p:cNvPr id="6" name="Straight Connector 5"/>
            <p:cNvSpPr/>
            <p:nvPr/>
          </p:nvSpPr>
          <p:spPr bwMode="auto">
            <a:xfrm flipV="1">
              <a:off x="6100330" y="2205498"/>
              <a:ext cx="0" cy="1648652"/>
            </a:xfrm>
            <a:prstGeom prst="line">
              <a:avLst/>
            </a:prstGeom>
            <a:noFill/>
            <a:ln w="15875">
              <a:solidFill>
                <a:schemeClr val="bg1">
                  <a:lumMod val="8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4127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10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7" name="Freeform: Shape 6"/>
            <p:cNvSpPr/>
            <p:nvPr/>
          </p:nvSpPr>
          <p:spPr bwMode="auto">
            <a:xfrm>
              <a:off x="6337238" y="2205498"/>
              <a:ext cx="4095756" cy="1602151"/>
            </a:xfrm>
            <a:custGeom>
              <a:avLst/>
              <a:gdLst>
                <a:gd name="T0" fmla="*/ 4095819 w 21590"/>
                <a:gd name="T1" fmla="*/ 1602257 h 21600"/>
                <a:gd name="T2" fmla="*/ 4095819 w 21590"/>
                <a:gd name="T3" fmla="*/ 1602257 h 21600"/>
                <a:gd name="T4" fmla="*/ 4095819 w 21590"/>
                <a:gd name="T5" fmla="*/ 1602257 h 21600"/>
                <a:gd name="T6" fmla="*/ 4095819 w 21590"/>
                <a:gd name="T7" fmla="*/ 1602257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590" h="21600" extrusionOk="0">
                  <a:moveTo>
                    <a:pt x="0" y="0"/>
                  </a:moveTo>
                  <a:lnTo>
                    <a:pt x="0" y="8447"/>
                  </a:lnTo>
                  <a:cubicBezTo>
                    <a:pt x="1" y="8822"/>
                    <a:pt x="57" y="9183"/>
                    <a:pt x="155" y="9460"/>
                  </a:cubicBezTo>
                  <a:cubicBezTo>
                    <a:pt x="276" y="9798"/>
                    <a:pt x="448" y="9982"/>
                    <a:pt x="626" y="9963"/>
                  </a:cubicBezTo>
                  <a:lnTo>
                    <a:pt x="21025" y="9963"/>
                  </a:lnTo>
                  <a:cubicBezTo>
                    <a:pt x="21180" y="9934"/>
                    <a:pt x="21331" y="10081"/>
                    <a:pt x="21440" y="10365"/>
                  </a:cubicBezTo>
                  <a:cubicBezTo>
                    <a:pt x="21546" y="10642"/>
                    <a:pt x="21600" y="11021"/>
                    <a:pt x="21589" y="11406"/>
                  </a:cubicBezTo>
                  <a:lnTo>
                    <a:pt x="21589" y="21600"/>
                  </a:lnTo>
                </a:path>
              </a:pathLst>
            </a:custGeom>
            <a:noFill/>
            <a:ln w="15875">
              <a:solidFill>
                <a:schemeClr val="bg1">
                  <a:lumMod val="8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4127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10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8" name="Freeform: Shape 7"/>
            <p:cNvSpPr/>
            <p:nvPr/>
          </p:nvSpPr>
          <p:spPr bwMode="auto">
            <a:xfrm>
              <a:off x="6220923" y="2205498"/>
              <a:ext cx="2051088" cy="1615602"/>
            </a:xfrm>
            <a:custGeom>
              <a:avLst/>
              <a:gdLst>
                <a:gd name="T0" fmla="*/ 2051120 w 21580"/>
                <a:gd name="T1" fmla="*/ 1615710 h 21600"/>
                <a:gd name="T2" fmla="*/ 2051120 w 21580"/>
                <a:gd name="T3" fmla="*/ 1615710 h 21600"/>
                <a:gd name="T4" fmla="*/ 2051120 w 21580"/>
                <a:gd name="T5" fmla="*/ 1615710 h 21600"/>
                <a:gd name="T6" fmla="*/ 2051120 w 21580"/>
                <a:gd name="T7" fmla="*/ 1615710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580" h="21600" extrusionOk="0">
                  <a:moveTo>
                    <a:pt x="34" y="0"/>
                  </a:moveTo>
                  <a:lnTo>
                    <a:pt x="0" y="9660"/>
                  </a:lnTo>
                  <a:cubicBezTo>
                    <a:pt x="-1" y="10100"/>
                    <a:pt x="128" y="10523"/>
                    <a:pt x="361" y="10847"/>
                  </a:cubicBezTo>
                  <a:cubicBezTo>
                    <a:pt x="624" y="11211"/>
                    <a:pt x="995" y="11419"/>
                    <a:pt x="1383" y="11418"/>
                  </a:cubicBezTo>
                  <a:lnTo>
                    <a:pt x="20451" y="11418"/>
                  </a:lnTo>
                  <a:cubicBezTo>
                    <a:pt x="20760" y="11390"/>
                    <a:pt x="21063" y="11536"/>
                    <a:pt x="21280" y="11817"/>
                  </a:cubicBezTo>
                  <a:cubicBezTo>
                    <a:pt x="21491" y="12091"/>
                    <a:pt x="21599" y="12467"/>
                    <a:pt x="21577" y="12849"/>
                  </a:cubicBezTo>
                  <a:lnTo>
                    <a:pt x="21577" y="21600"/>
                  </a:lnTo>
                </a:path>
              </a:pathLst>
            </a:custGeom>
            <a:noFill/>
            <a:ln w="15875">
              <a:solidFill>
                <a:schemeClr val="bg1">
                  <a:lumMod val="8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4127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10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9" name="Freeform: Shape 8"/>
            <p:cNvSpPr/>
            <p:nvPr/>
          </p:nvSpPr>
          <p:spPr bwMode="auto">
            <a:xfrm>
              <a:off x="3928642" y="2205498"/>
              <a:ext cx="2051095" cy="1615602"/>
            </a:xfrm>
            <a:custGeom>
              <a:avLst/>
              <a:gdLst>
                <a:gd name="T0" fmla="*/ 2051126 w 21580"/>
                <a:gd name="T1" fmla="*/ 1615710 h 21600"/>
                <a:gd name="T2" fmla="*/ 2051126 w 21580"/>
                <a:gd name="T3" fmla="*/ 1615710 h 21600"/>
                <a:gd name="T4" fmla="*/ 2051126 w 21580"/>
                <a:gd name="T5" fmla="*/ 1615710 h 21600"/>
                <a:gd name="T6" fmla="*/ 2051126 w 21580"/>
                <a:gd name="T7" fmla="*/ 1615710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580" h="21600" extrusionOk="0">
                  <a:moveTo>
                    <a:pt x="21546" y="0"/>
                  </a:moveTo>
                  <a:lnTo>
                    <a:pt x="21580" y="9660"/>
                  </a:lnTo>
                  <a:cubicBezTo>
                    <a:pt x="21581" y="10100"/>
                    <a:pt x="21452" y="10523"/>
                    <a:pt x="21219" y="10847"/>
                  </a:cubicBezTo>
                  <a:cubicBezTo>
                    <a:pt x="20956" y="11211"/>
                    <a:pt x="20585" y="11419"/>
                    <a:pt x="20197" y="11418"/>
                  </a:cubicBezTo>
                  <a:lnTo>
                    <a:pt x="1129" y="11418"/>
                  </a:lnTo>
                  <a:cubicBezTo>
                    <a:pt x="820" y="11390"/>
                    <a:pt x="517" y="11536"/>
                    <a:pt x="300" y="11817"/>
                  </a:cubicBezTo>
                  <a:cubicBezTo>
                    <a:pt x="89" y="12091"/>
                    <a:pt x="-19" y="12467"/>
                    <a:pt x="3" y="12849"/>
                  </a:cubicBezTo>
                  <a:lnTo>
                    <a:pt x="3" y="21600"/>
                  </a:lnTo>
                </a:path>
              </a:pathLst>
            </a:custGeom>
            <a:noFill/>
            <a:ln w="15875">
              <a:solidFill>
                <a:schemeClr val="bg1">
                  <a:lumMod val="8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4127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10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0" name="Freeform: Shape 9"/>
            <p:cNvSpPr/>
            <p:nvPr/>
          </p:nvSpPr>
          <p:spPr bwMode="auto">
            <a:xfrm>
              <a:off x="1759007" y="2205498"/>
              <a:ext cx="4095762" cy="1621200"/>
            </a:xfrm>
            <a:custGeom>
              <a:avLst/>
              <a:gdLst>
                <a:gd name="T0" fmla="*/ 4095825 w 21590"/>
                <a:gd name="T1" fmla="*/ 1621307 h 21600"/>
                <a:gd name="T2" fmla="*/ 4095825 w 21590"/>
                <a:gd name="T3" fmla="*/ 1621307 h 21600"/>
                <a:gd name="T4" fmla="*/ 4095825 w 21590"/>
                <a:gd name="T5" fmla="*/ 1621307 h 21600"/>
                <a:gd name="T6" fmla="*/ 4095825 w 21590"/>
                <a:gd name="T7" fmla="*/ 1621307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590" h="21600" extrusionOk="0">
                  <a:moveTo>
                    <a:pt x="21590" y="0"/>
                  </a:moveTo>
                  <a:lnTo>
                    <a:pt x="21590" y="8602"/>
                  </a:lnTo>
                  <a:cubicBezTo>
                    <a:pt x="21589" y="8973"/>
                    <a:pt x="21533" y="9329"/>
                    <a:pt x="21435" y="9603"/>
                  </a:cubicBezTo>
                  <a:cubicBezTo>
                    <a:pt x="21314" y="9936"/>
                    <a:pt x="21142" y="10118"/>
                    <a:pt x="20964" y="10099"/>
                  </a:cubicBezTo>
                  <a:lnTo>
                    <a:pt x="565" y="10099"/>
                  </a:lnTo>
                  <a:cubicBezTo>
                    <a:pt x="410" y="10071"/>
                    <a:pt x="259" y="10217"/>
                    <a:pt x="150" y="10497"/>
                  </a:cubicBezTo>
                  <a:cubicBezTo>
                    <a:pt x="44" y="10770"/>
                    <a:pt x="-10" y="11145"/>
                    <a:pt x="1" y="11526"/>
                  </a:cubicBezTo>
                  <a:lnTo>
                    <a:pt x="1" y="21600"/>
                  </a:lnTo>
                </a:path>
              </a:pathLst>
            </a:custGeom>
            <a:noFill/>
            <a:ln w="15875">
              <a:solidFill>
                <a:schemeClr val="bg1">
                  <a:lumMod val="8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4127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10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: Rounded Corners 10"/>
            <p:cNvSpPr/>
            <p:nvPr/>
          </p:nvSpPr>
          <p:spPr bwMode="auto">
            <a:xfrm>
              <a:off x="4262350" y="1371421"/>
              <a:ext cx="3667300" cy="855375"/>
            </a:xfrm>
            <a:prstGeom prst="roundRect">
              <a:avLst>
                <a:gd name="adj" fmla="val 9644"/>
              </a:avLst>
            </a:prstGeom>
            <a:solidFill>
              <a:schemeClr val="bg1">
                <a:lumMod val="95000"/>
                <a:alpha val="74901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3200" b="1" i="1" dirty="0" err="1">
                  <a:cs typeface="+mn-ea"/>
                  <a:sym typeface="+mn-lt"/>
                </a:rPr>
                <a:t>BaizonnLearningCenter</a:t>
              </a:r>
              <a:endParaRPr lang="en-US" altLang="zh-CN" sz="3200" i="1" dirty="0">
                <a:cs typeface="+mn-ea"/>
                <a:sym typeface="+mn-lt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816262" y="3701963"/>
              <a:ext cx="1887768" cy="2203716"/>
              <a:chOff x="816262" y="3701963"/>
              <a:chExt cx="1887768" cy="2203716"/>
            </a:xfrm>
          </p:grpSpPr>
          <p:sp>
            <p:nvSpPr>
              <p:cNvPr id="37" name="Freeform: Shape 36"/>
              <p:cNvSpPr/>
              <p:nvPr/>
            </p:nvSpPr>
            <p:spPr bwMode="auto">
              <a:xfrm>
                <a:off x="816262" y="4018038"/>
                <a:ext cx="1887768" cy="1887641"/>
              </a:xfrm>
              <a:custGeom>
                <a:avLst/>
                <a:gdLst>
                  <a:gd name="T0" fmla="*/ 1887797 w 19679"/>
                  <a:gd name="T1" fmla="*/ 1887767 h 20595"/>
                  <a:gd name="T2" fmla="*/ 1887797 w 19679"/>
                  <a:gd name="T3" fmla="*/ 1887767 h 20595"/>
                  <a:gd name="T4" fmla="*/ 1887797 w 19679"/>
                  <a:gd name="T5" fmla="*/ 1887767 h 20595"/>
                  <a:gd name="T6" fmla="*/ 1887797 w 19679"/>
                  <a:gd name="T7" fmla="*/ 1887767 h 20595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679" h="20595" extrusionOk="0">
                    <a:moveTo>
                      <a:pt x="9840" y="0"/>
                    </a:moveTo>
                    <a:cubicBezTo>
                      <a:pt x="7322" y="0"/>
                      <a:pt x="4803" y="1005"/>
                      <a:pt x="2881" y="3016"/>
                    </a:cubicBezTo>
                    <a:cubicBezTo>
                      <a:pt x="-961" y="7037"/>
                      <a:pt x="-961" y="13557"/>
                      <a:pt x="2881" y="17579"/>
                    </a:cubicBezTo>
                    <a:cubicBezTo>
                      <a:pt x="6724" y="21600"/>
                      <a:pt x="12954" y="21600"/>
                      <a:pt x="16797" y="17579"/>
                    </a:cubicBezTo>
                    <a:cubicBezTo>
                      <a:pt x="20639" y="13557"/>
                      <a:pt x="20639" y="7037"/>
                      <a:pt x="16797" y="3016"/>
                    </a:cubicBezTo>
                    <a:cubicBezTo>
                      <a:pt x="14875" y="1005"/>
                      <a:pt x="12358" y="0"/>
                      <a:pt x="9840" y="0"/>
                    </a:cubicBezTo>
                    <a:close/>
                    <a:moveTo>
                      <a:pt x="9840" y="784"/>
                    </a:moveTo>
                    <a:cubicBezTo>
                      <a:pt x="12166" y="784"/>
                      <a:pt x="14492" y="1712"/>
                      <a:pt x="16267" y="3570"/>
                    </a:cubicBezTo>
                    <a:cubicBezTo>
                      <a:pt x="18047" y="5433"/>
                      <a:pt x="18935" y="7876"/>
                      <a:pt x="18929" y="10318"/>
                    </a:cubicBezTo>
                    <a:lnTo>
                      <a:pt x="749" y="10318"/>
                    </a:lnTo>
                    <a:cubicBezTo>
                      <a:pt x="743" y="7876"/>
                      <a:pt x="1631" y="5433"/>
                      <a:pt x="3411" y="3570"/>
                    </a:cubicBezTo>
                    <a:cubicBezTo>
                      <a:pt x="5186" y="1712"/>
                      <a:pt x="7514" y="784"/>
                      <a:pt x="9840" y="78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41275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000">
                  <a:solidFill>
                    <a:srgbClr val="252D3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8" name="Oval 37"/>
              <p:cNvSpPr/>
              <p:nvPr/>
            </p:nvSpPr>
            <p:spPr bwMode="auto">
              <a:xfrm flipH="1">
                <a:off x="1683914" y="3701963"/>
                <a:ext cx="152464" cy="152456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4127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6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 bwMode="auto">
              <a:xfrm>
                <a:off x="1099048" y="5365670"/>
                <a:ext cx="1322196" cy="3142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solidFill>
                      <a:schemeClr val="bg1"/>
                    </a:solidFill>
                    <a:cs typeface="+mn-ea"/>
                    <a:sym typeface="+mn-lt"/>
                  </a:rPr>
                  <a:t>Supporting text here.</a:t>
                </a:r>
              </a:p>
            </p:txBody>
          </p:sp>
          <p:sp>
            <p:nvSpPr>
              <p:cNvPr id="40" name="TextBox 39"/>
              <p:cNvSpPr txBox="1"/>
              <p:nvPr/>
            </p:nvSpPr>
            <p:spPr bwMode="auto">
              <a:xfrm>
                <a:off x="1099048" y="5039996"/>
                <a:ext cx="1322196" cy="32567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4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Text here</a:t>
                </a:r>
              </a:p>
            </p:txBody>
          </p:sp>
          <p:sp>
            <p:nvSpPr>
              <p:cNvPr id="41" name="Freeform: Shape 40"/>
              <p:cNvSpPr/>
              <p:nvPr/>
            </p:nvSpPr>
            <p:spPr>
              <a:xfrm>
                <a:off x="1575866" y="4349157"/>
                <a:ext cx="368560" cy="359720"/>
              </a:xfrm>
              <a:custGeom>
                <a:avLst/>
                <a:gdLst>
                  <a:gd name="connsiteX0" fmla="*/ 262691 w 594866"/>
                  <a:gd name="connsiteY0" fmla="*/ 389499 h 604675"/>
                  <a:gd name="connsiteX1" fmla="*/ 241276 w 594866"/>
                  <a:gd name="connsiteY1" fmla="*/ 410886 h 604675"/>
                  <a:gd name="connsiteX2" fmla="*/ 241276 w 594866"/>
                  <a:gd name="connsiteY2" fmla="*/ 494939 h 604675"/>
                  <a:gd name="connsiteX3" fmla="*/ 241276 w 594866"/>
                  <a:gd name="connsiteY3" fmla="*/ 530802 h 604675"/>
                  <a:gd name="connsiteX4" fmla="*/ 262691 w 594866"/>
                  <a:gd name="connsiteY4" fmla="*/ 552189 h 604675"/>
                  <a:gd name="connsiteX5" fmla="*/ 284107 w 594866"/>
                  <a:gd name="connsiteY5" fmla="*/ 530802 h 604675"/>
                  <a:gd name="connsiteX6" fmla="*/ 284107 w 594866"/>
                  <a:gd name="connsiteY6" fmla="*/ 445161 h 604675"/>
                  <a:gd name="connsiteX7" fmla="*/ 284107 w 594866"/>
                  <a:gd name="connsiteY7" fmla="*/ 410886 h 604675"/>
                  <a:gd name="connsiteX8" fmla="*/ 262691 w 594866"/>
                  <a:gd name="connsiteY8" fmla="*/ 389499 h 604675"/>
                  <a:gd name="connsiteX9" fmla="*/ 193769 w 594866"/>
                  <a:gd name="connsiteY9" fmla="*/ 389499 h 604675"/>
                  <a:gd name="connsiteX10" fmla="*/ 172260 w 594866"/>
                  <a:gd name="connsiteY10" fmla="*/ 410886 h 604675"/>
                  <a:gd name="connsiteX11" fmla="*/ 172260 w 594866"/>
                  <a:gd name="connsiteY11" fmla="*/ 494939 h 604675"/>
                  <a:gd name="connsiteX12" fmla="*/ 172260 w 594866"/>
                  <a:gd name="connsiteY12" fmla="*/ 530802 h 604675"/>
                  <a:gd name="connsiteX13" fmla="*/ 193769 w 594866"/>
                  <a:gd name="connsiteY13" fmla="*/ 552189 h 604675"/>
                  <a:gd name="connsiteX14" fmla="*/ 215184 w 594866"/>
                  <a:gd name="connsiteY14" fmla="*/ 530802 h 604675"/>
                  <a:gd name="connsiteX15" fmla="*/ 215184 w 594866"/>
                  <a:gd name="connsiteY15" fmla="*/ 445161 h 604675"/>
                  <a:gd name="connsiteX16" fmla="*/ 215184 w 594866"/>
                  <a:gd name="connsiteY16" fmla="*/ 410886 h 604675"/>
                  <a:gd name="connsiteX17" fmla="*/ 193769 w 594866"/>
                  <a:gd name="connsiteY17" fmla="*/ 389499 h 604675"/>
                  <a:gd name="connsiteX18" fmla="*/ 400817 w 594866"/>
                  <a:gd name="connsiteY18" fmla="*/ 389219 h 604675"/>
                  <a:gd name="connsiteX19" fmla="*/ 379401 w 594866"/>
                  <a:gd name="connsiteY19" fmla="*/ 410606 h 604675"/>
                  <a:gd name="connsiteX20" fmla="*/ 379401 w 594866"/>
                  <a:gd name="connsiteY20" fmla="*/ 444974 h 604675"/>
                  <a:gd name="connsiteX21" fmla="*/ 379401 w 594866"/>
                  <a:gd name="connsiteY21" fmla="*/ 530709 h 604675"/>
                  <a:gd name="connsiteX22" fmla="*/ 400817 w 594866"/>
                  <a:gd name="connsiteY22" fmla="*/ 552095 h 604675"/>
                  <a:gd name="connsiteX23" fmla="*/ 422326 w 594866"/>
                  <a:gd name="connsiteY23" fmla="*/ 530709 h 604675"/>
                  <a:gd name="connsiteX24" fmla="*/ 422326 w 594866"/>
                  <a:gd name="connsiteY24" fmla="*/ 494846 h 604675"/>
                  <a:gd name="connsiteX25" fmla="*/ 422326 w 594866"/>
                  <a:gd name="connsiteY25" fmla="*/ 410606 h 604675"/>
                  <a:gd name="connsiteX26" fmla="*/ 400817 w 594866"/>
                  <a:gd name="connsiteY26" fmla="*/ 389219 h 604675"/>
                  <a:gd name="connsiteX27" fmla="*/ 331988 w 594866"/>
                  <a:gd name="connsiteY27" fmla="*/ 389219 h 604675"/>
                  <a:gd name="connsiteX28" fmla="*/ 310572 w 594866"/>
                  <a:gd name="connsiteY28" fmla="*/ 410606 h 604675"/>
                  <a:gd name="connsiteX29" fmla="*/ 310572 w 594866"/>
                  <a:gd name="connsiteY29" fmla="*/ 444974 h 604675"/>
                  <a:gd name="connsiteX30" fmla="*/ 310572 w 594866"/>
                  <a:gd name="connsiteY30" fmla="*/ 530709 h 604675"/>
                  <a:gd name="connsiteX31" fmla="*/ 331988 w 594866"/>
                  <a:gd name="connsiteY31" fmla="*/ 552095 h 604675"/>
                  <a:gd name="connsiteX32" fmla="*/ 353497 w 594866"/>
                  <a:gd name="connsiteY32" fmla="*/ 530709 h 604675"/>
                  <a:gd name="connsiteX33" fmla="*/ 353497 w 594866"/>
                  <a:gd name="connsiteY33" fmla="*/ 494846 h 604675"/>
                  <a:gd name="connsiteX34" fmla="*/ 353497 w 594866"/>
                  <a:gd name="connsiteY34" fmla="*/ 410606 h 604675"/>
                  <a:gd name="connsiteX35" fmla="*/ 331988 w 594866"/>
                  <a:gd name="connsiteY35" fmla="*/ 389219 h 604675"/>
                  <a:gd name="connsiteX36" fmla="*/ 186381 w 594866"/>
                  <a:gd name="connsiteY36" fmla="*/ 49552 h 604675"/>
                  <a:gd name="connsiteX37" fmla="*/ 199473 w 594866"/>
                  <a:gd name="connsiteY37" fmla="*/ 78316 h 604675"/>
                  <a:gd name="connsiteX38" fmla="*/ 136162 w 594866"/>
                  <a:gd name="connsiteY38" fmla="*/ 247543 h 604675"/>
                  <a:gd name="connsiteX39" fmla="*/ 458611 w 594866"/>
                  <a:gd name="connsiteY39" fmla="*/ 247543 h 604675"/>
                  <a:gd name="connsiteX40" fmla="*/ 395206 w 594866"/>
                  <a:gd name="connsiteY40" fmla="*/ 78316 h 604675"/>
                  <a:gd name="connsiteX41" fmla="*/ 408298 w 594866"/>
                  <a:gd name="connsiteY41" fmla="*/ 49552 h 604675"/>
                  <a:gd name="connsiteX42" fmla="*/ 437102 w 594866"/>
                  <a:gd name="connsiteY42" fmla="*/ 62627 h 604675"/>
                  <a:gd name="connsiteX43" fmla="*/ 506211 w 594866"/>
                  <a:gd name="connsiteY43" fmla="*/ 247356 h 604675"/>
                  <a:gd name="connsiteX44" fmla="*/ 561948 w 594866"/>
                  <a:gd name="connsiteY44" fmla="*/ 247356 h 604675"/>
                  <a:gd name="connsiteX45" fmla="*/ 594866 w 594866"/>
                  <a:gd name="connsiteY45" fmla="*/ 280137 h 604675"/>
                  <a:gd name="connsiteX46" fmla="*/ 594866 w 594866"/>
                  <a:gd name="connsiteY46" fmla="*/ 334585 h 604675"/>
                  <a:gd name="connsiteX47" fmla="*/ 562042 w 594866"/>
                  <a:gd name="connsiteY47" fmla="*/ 367272 h 604675"/>
                  <a:gd name="connsiteX48" fmla="*/ 537727 w 594866"/>
                  <a:gd name="connsiteY48" fmla="*/ 367272 h 604675"/>
                  <a:gd name="connsiteX49" fmla="*/ 499011 w 594866"/>
                  <a:gd name="connsiteY49" fmla="*/ 564890 h 604675"/>
                  <a:gd name="connsiteX50" fmla="*/ 450755 w 594866"/>
                  <a:gd name="connsiteY50" fmla="*/ 604675 h 604675"/>
                  <a:gd name="connsiteX51" fmla="*/ 436167 w 594866"/>
                  <a:gd name="connsiteY51" fmla="*/ 604675 h 604675"/>
                  <a:gd name="connsiteX52" fmla="*/ 340498 w 594866"/>
                  <a:gd name="connsiteY52" fmla="*/ 604675 h 604675"/>
                  <a:gd name="connsiteX53" fmla="*/ 305335 w 594866"/>
                  <a:gd name="connsiteY53" fmla="*/ 604675 h 604675"/>
                  <a:gd name="connsiteX54" fmla="*/ 287754 w 594866"/>
                  <a:gd name="connsiteY54" fmla="*/ 604675 h 604675"/>
                  <a:gd name="connsiteX55" fmla="*/ 254368 w 594866"/>
                  <a:gd name="connsiteY55" fmla="*/ 604675 h 604675"/>
                  <a:gd name="connsiteX56" fmla="*/ 158700 w 594866"/>
                  <a:gd name="connsiteY56" fmla="*/ 604675 h 604675"/>
                  <a:gd name="connsiteX57" fmla="*/ 144111 w 594866"/>
                  <a:gd name="connsiteY57" fmla="*/ 604675 h 604675"/>
                  <a:gd name="connsiteX58" fmla="*/ 95856 w 594866"/>
                  <a:gd name="connsiteY58" fmla="*/ 564890 h 604675"/>
                  <a:gd name="connsiteX59" fmla="*/ 57046 w 594866"/>
                  <a:gd name="connsiteY59" fmla="*/ 367272 h 604675"/>
                  <a:gd name="connsiteX60" fmla="*/ 32731 w 594866"/>
                  <a:gd name="connsiteY60" fmla="*/ 367272 h 604675"/>
                  <a:gd name="connsiteX61" fmla="*/ 0 w 594866"/>
                  <a:gd name="connsiteY61" fmla="*/ 334585 h 604675"/>
                  <a:gd name="connsiteX62" fmla="*/ 0 w 594866"/>
                  <a:gd name="connsiteY62" fmla="*/ 280137 h 604675"/>
                  <a:gd name="connsiteX63" fmla="*/ 32731 w 594866"/>
                  <a:gd name="connsiteY63" fmla="*/ 247356 h 604675"/>
                  <a:gd name="connsiteX64" fmla="*/ 88374 w 594866"/>
                  <a:gd name="connsiteY64" fmla="*/ 247356 h 604675"/>
                  <a:gd name="connsiteX65" fmla="*/ 157578 w 594866"/>
                  <a:gd name="connsiteY65" fmla="*/ 62627 h 604675"/>
                  <a:gd name="connsiteX66" fmla="*/ 186381 w 594866"/>
                  <a:gd name="connsiteY66" fmla="*/ 49552 h 604675"/>
                  <a:gd name="connsiteX67" fmla="*/ 269416 w 594866"/>
                  <a:gd name="connsiteY67" fmla="*/ 0 h 604675"/>
                  <a:gd name="connsiteX68" fmla="*/ 325240 w 594866"/>
                  <a:gd name="connsiteY68" fmla="*/ 0 h 604675"/>
                  <a:gd name="connsiteX69" fmla="*/ 330850 w 594866"/>
                  <a:gd name="connsiteY69" fmla="*/ 5602 h 604675"/>
                  <a:gd name="connsiteX70" fmla="*/ 330850 w 594866"/>
                  <a:gd name="connsiteY70" fmla="*/ 128394 h 604675"/>
                  <a:gd name="connsiteX71" fmla="*/ 352544 w 594866"/>
                  <a:gd name="connsiteY71" fmla="*/ 128394 h 604675"/>
                  <a:gd name="connsiteX72" fmla="*/ 359277 w 594866"/>
                  <a:gd name="connsiteY72" fmla="*/ 142214 h 604675"/>
                  <a:gd name="connsiteX73" fmla="*/ 304107 w 594866"/>
                  <a:gd name="connsiteY73" fmla="*/ 212247 h 604675"/>
                  <a:gd name="connsiteX74" fmla="*/ 290642 w 594866"/>
                  <a:gd name="connsiteY74" fmla="*/ 212247 h 604675"/>
                  <a:gd name="connsiteX75" fmla="*/ 235379 w 594866"/>
                  <a:gd name="connsiteY75" fmla="*/ 142214 h 604675"/>
                  <a:gd name="connsiteX76" fmla="*/ 242111 w 594866"/>
                  <a:gd name="connsiteY76" fmla="*/ 128394 h 604675"/>
                  <a:gd name="connsiteX77" fmla="*/ 263805 w 594866"/>
                  <a:gd name="connsiteY77" fmla="*/ 128394 h 604675"/>
                  <a:gd name="connsiteX78" fmla="*/ 263805 w 594866"/>
                  <a:gd name="connsiteY78" fmla="*/ 5602 h 604675"/>
                  <a:gd name="connsiteX79" fmla="*/ 269416 w 594866"/>
                  <a:gd name="connsiteY79" fmla="*/ 0 h 604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594866" h="604675">
                    <a:moveTo>
                      <a:pt x="262691" y="389499"/>
                    </a:moveTo>
                    <a:cubicBezTo>
                      <a:pt x="251189" y="389499"/>
                      <a:pt x="241276" y="398652"/>
                      <a:pt x="241276" y="410886"/>
                    </a:cubicBezTo>
                    <a:lnTo>
                      <a:pt x="241276" y="494939"/>
                    </a:lnTo>
                    <a:lnTo>
                      <a:pt x="241276" y="530802"/>
                    </a:lnTo>
                    <a:cubicBezTo>
                      <a:pt x="241276" y="542289"/>
                      <a:pt x="250441" y="552189"/>
                      <a:pt x="262691" y="552189"/>
                    </a:cubicBezTo>
                    <a:cubicBezTo>
                      <a:pt x="274194" y="552189"/>
                      <a:pt x="284107" y="543036"/>
                      <a:pt x="284107" y="530802"/>
                    </a:cubicBezTo>
                    <a:lnTo>
                      <a:pt x="284107" y="445161"/>
                    </a:lnTo>
                    <a:lnTo>
                      <a:pt x="284107" y="410886"/>
                    </a:lnTo>
                    <a:cubicBezTo>
                      <a:pt x="284107" y="399399"/>
                      <a:pt x="274194" y="389499"/>
                      <a:pt x="262691" y="389499"/>
                    </a:cubicBezTo>
                    <a:close/>
                    <a:moveTo>
                      <a:pt x="193769" y="389499"/>
                    </a:moveTo>
                    <a:cubicBezTo>
                      <a:pt x="182266" y="389499"/>
                      <a:pt x="172260" y="398652"/>
                      <a:pt x="172260" y="410886"/>
                    </a:cubicBezTo>
                    <a:lnTo>
                      <a:pt x="172260" y="494939"/>
                    </a:lnTo>
                    <a:lnTo>
                      <a:pt x="172260" y="530802"/>
                    </a:lnTo>
                    <a:cubicBezTo>
                      <a:pt x="172260" y="542289"/>
                      <a:pt x="181518" y="552189"/>
                      <a:pt x="193769" y="552189"/>
                    </a:cubicBezTo>
                    <a:cubicBezTo>
                      <a:pt x="205178" y="552189"/>
                      <a:pt x="215184" y="543036"/>
                      <a:pt x="215184" y="530802"/>
                    </a:cubicBezTo>
                    <a:lnTo>
                      <a:pt x="215184" y="445161"/>
                    </a:lnTo>
                    <a:lnTo>
                      <a:pt x="215184" y="410886"/>
                    </a:lnTo>
                    <a:cubicBezTo>
                      <a:pt x="215184" y="399399"/>
                      <a:pt x="205926" y="389499"/>
                      <a:pt x="193769" y="389499"/>
                    </a:cubicBezTo>
                    <a:close/>
                    <a:moveTo>
                      <a:pt x="400817" y="389219"/>
                    </a:moveTo>
                    <a:cubicBezTo>
                      <a:pt x="388660" y="389219"/>
                      <a:pt x="379401" y="399212"/>
                      <a:pt x="379401" y="410606"/>
                    </a:cubicBezTo>
                    <a:lnTo>
                      <a:pt x="379401" y="444974"/>
                    </a:lnTo>
                    <a:lnTo>
                      <a:pt x="379401" y="530709"/>
                    </a:lnTo>
                    <a:cubicBezTo>
                      <a:pt x="379401" y="542850"/>
                      <a:pt x="389408" y="552095"/>
                      <a:pt x="400817" y="552095"/>
                    </a:cubicBezTo>
                    <a:cubicBezTo>
                      <a:pt x="413068" y="552095"/>
                      <a:pt x="422326" y="542102"/>
                      <a:pt x="422326" y="530709"/>
                    </a:cubicBezTo>
                    <a:lnTo>
                      <a:pt x="422326" y="494846"/>
                    </a:lnTo>
                    <a:lnTo>
                      <a:pt x="422326" y="410606"/>
                    </a:lnTo>
                    <a:cubicBezTo>
                      <a:pt x="422326" y="398465"/>
                      <a:pt x="412320" y="389219"/>
                      <a:pt x="400817" y="389219"/>
                    </a:cubicBezTo>
                    <a:close/>
                    <a:moveTo>
                      <a:pt x="331988" y="389219"/>
                    </a:moveTo>
                    <a:cubicBezTo>
                      <a:pt x="320579" y="389219"/>
                      <a:pt x="310572" y="399212"/>
                      <a:pt x="310572" y="410606"/>
                    </a:cubicBezTo>
                    <a:lnTo>
                      <a:pt x="310572" y="444974"/>
                    </a:lnTo>
                    <a:lnTo>
                      <a:pt x="310572" y="530709"/>
                    </a:lnTo>
                    <a:cubicBezTo>
                      <a:pt x="310572" y="542850"/>
                      <a:pt x="320579" y="552095"/>
                      <a:pt x="331988" y="552095"/>
                    </a:cubicBezTo>
                    <a:cubicBezTo>
                      <a:pt x="344239" y="552095"/>
                      <a:pt x="353497" y="542102"/>
                      <a:pt x="353497" y="530709"/>
                    </a:cubicBezTo>
                    <a:lnTo>
                      <a:pt x="353497" y="494846"/>
                    </a:lnTo>
                    <a:lnTo>
                      <a:pt x="353497" y="410606"/>
                    </a:lnTo>
                    <a:cubicBezTo>
                      <a:pt x="353497" y="398465"/>
                      <a:pt x="343491" y="389219"/>
                      <a:pt x="331988" y="389219"/>
                    </a:cubicBezTo>
                    <a:close/>
                    <a:moveTo>
                      <a:pt x="186381" y="49552"/>
                    </a:moveTo>
                    <a:cubicBezTo>
                      <a:pt x="197977" y="53848"/>
                      <a:pt x="203869" y="66736"/>
                      <a:pt x="199473" y="78316"/>
                    </a:cubicBezTo>
                    <a:lnTo>
                      <a:pt x="136162" y="247543"/>
                    </a:lnTo>
                    <a:lnTo>
                      <a:pt x="458611" y="247543"/>
                    </a:lnTo>
                    <a:lnTo>
                      <a:pt x="395206" y="78316"/>
                    </a:lnTo>
                    <a:cubicBezTo>
                      <a:pt x="390904" y="66736"/>
                      <a:pt x="396702" y="53848"/>
                      <a:pt x="408298" y="49552"/>
                    </a:cubicBezTo>
                    <a:cubicBezTo>
                      <a:pt x="419895" y="45162"/>
                      <a:pt x="432800" y="51046"/>
                      <a:pt x="437102" y="62627"/>
                    </a:cubicBezTo>
                    <a:lnTo>
                      <a:pt x="506211" y="247356"/>
                    </a:lnTo>
                    <a:lnTo>
                      <a:pt x="561948" y="247356"/>
                    </a:lnTo>
                    <a:cubicBezTo>
                      <a:pt x="580184" y="247356"/>
                      <a:pt x="594866" y="262112"/>
                      <a:pt x="594866" y="280137"/>
                    </a:cubicBezTo>
                    <a:lnTo>
                      <a:pt x="594866" y="334585"/>
                    </a:lnTo>
                    <a:cubicBezTo>
                      <a:pt x="594866" y="352610"/>
                      <a:pt x="580184" y="367272"/>
                      <a:pt x="562042" y="367272"/>
                    </a:cubicBezTo>
                    <a:lnTo>
                      <a:pt x="537727" y="367272"/>
                    </a:lnTo>
                    <a:lnTo>
                      <a:pt x="499011" y="564890"/>
                    </a:lnTo>
                    <a:cubicBezTo>
                      <a:pt x="494335" y="587117"/>
                      <a:pt x="472919" y="604675"/>
                      <a:pt x="450755" y="604675"/>
                    </a:cubicBezTo>
                    <a:lnTo>
                      <a:pt x="436167" y="604675"/>
                    </a:lnTo>
                    <a:lnTo>
                      <a:pt x="340498" y="604675"/>
                    </a:lnTo>
                    <a:lnTo>
                      <a:pt x="305335" y="604675"/>
                    </a:lnTo>
                    <a:lnTo>
                      <a:pt x="287754" y="604675"/>
                    </a:lnTo>
                    <a:lnTo>
                      <a:pt x="254368" y="604675"/>
                    </a:lnTo>
                    <a:lnTo>
                      <a:pt x="158700" y="604675"/>
                    </a:lnTo>
                    <a:lnTo>
                      <a:pt x="144111" y="604675"/>
                    </a:lnTo>
                    <a:cubicBezTo>
                      <a:pt x="121947" y="604675"/>
                      <a:pt x="100438" y="587117"/>
                      <a:pt x="95856" y="564890"/>
                    </a:cubicBezTo>
                    <a:lnTo>
                      <a:pt x="57046" y="367272"/>
                    </a:lnTo>
                    <a:lnTo>
                      <a:pt x="32731" y="367272"/>
                    </a:lnTo>
                    <a:cubicBezTo>
                      <a:pt x="14683" y="367272"/>
                      <a:pt x="0" y="352610"/>
                      <a:pt x="0" y="334585"/>
                    </a:cubicBezTo>
                    <a:lnTo>
                      <a:pt x="0" y="280137"/>
                    </a:lnTo>
                    <a:cubicBezTo>
                      <a:pt x="0" y="262112"/>
                      <a:pt x="14683" y="247356"/>
                      <a:pt x="32731" y="247356"/>
                    </a:cubicBezTo>
                    <a:lnTo>
                      <a:pt x="88374" y="247356"/>
                    </a:lnTo>
                    <a:lnTo>
                      <a:pt x="157578" y="62627"/>
                    </a:lnTo>
                    <a:cubicBezTo>
                      <a:pt x="161973" y="51046"/>
                      <a:pt x="174785" y="45162"/>
                      <a:pt x="186381" y="49552"/>
                    </a:cubicBezTo>
                    <a:close/>
                    <a:moveTo>
                      <a:pt x="269416" y="0"/>
                    </a:moveTo>
                    <a:lnTo>
                      <a:pt x="325240" y="0"/>
                    </a:lnTo>
                    <a:cubicBezTo>
                      <a:pt x="328419" y="0"/>
                      <a:pt x="330850" y="2521"/>
                      <a:pt x="330850" y="5602"/>
                    </a:cubicBezTo>
                    <a:lnTo>
                      <a:pt x="330850" y="128394"/>
                    </a:lnTo>
                    <a:lnTo>
                      <a:pt x="352544" y="128394"/>
                    </a:lnTo>
                    <a:cubicBezTo>
                      <a:pt x="359651" y="128394"/>
                      <a:pt x="363765" y="136612"/>
                      <a:pt x="359277" y="142214"/>
                    </a:cubicBezTo>
                    <a:lnTo>
                      <a:pt x="304107" y="212247"/>
                    </a:lnTo>
                    <a:cubicBezTo>
                      <a:pt x="300741" y="216636"/>
                      <a:pt x="294102" y="216636"/>
                      <a:pt x="290642" y="212247"/>
                    </a:cubicBezTo>
                    <a:lnTo>
                      <a:pt x="235379" y="142214"/>
                    </a:lnTo>
                    <a:cubicBezTo>
                      <a:pt x="230890" y="136612"/>
                      <a:pt x="235005" y="128394"/>
                      <a:pt x="242111" y="128394"/>
                    </a:cubicBezTo>
                    <a:lnTo>
                      <a:pt x="263805" y="128394"/>
                    </a:lnTo>
                    <a:lnTo>
                      <a:pt x="263805" y="5602"/>
                    </a:lnTo>
                    <a:cubicBezTo>
                      <a:pt x="263805" y="2521"/>
                      <a:pt x="266330" y="0"/>
                      <a:pt x="26941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i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3266975" y="3701963"/>
              <a:ext cx="1322196" cy="1977915"/>
              <a:chOff x="3266975" y="3701963"/>
              <a:chExt cx="1322196" cy="1977915"/>
            </a:xfrm>
          </p:grpSpPr>
          <p:sp>
            <p:nvSpPr>
              <p:cNvPr id="33" name="Oval 32"/>
              <p:cNvSpPr/>
              <p:nvPr/>
            </p:nvSpPr>
            <p:spPr bwMode="auto">
              <a:xfrm flipH="1">
                <a:off x="3851841" y="3701963"/>
                <a:ext cx="152464" cy="152456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4127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6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4" name="Rectangle 33"/>
              <p:cNvSpPr/>
              <p:nvPr/>
            </p:nvSpPr>
            <p:spPr bwMode="auto">
              <a:xfrm>
                <a:off x="3266975" y="5365670"/>
                <a:ext cx="1322196" cy="3142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solidFill>
                      <a:schemeClr val="bg1"/>
                    </a:solidFill>
                    <a:cs typeface="+mn-ea"/>
                    <a:sym typeface="+mn-lt"/>
                  </a:rPr>
                  <a:t>Supporting text here.</a:t>
                </a:r>
              </a:p>
            </p:txBody>
          </p:sp>
          <p:sp>
            <p:nvSpPr>
              <p:cNvPr id="35" name="TextBox 34"/>
              <p:cNvSpPr txBox="1"/>
              <p:nvPr/>
            </p:nvSpPr>
            <p:spPr bwMode="auto">
              <a:xfrm>
                <a:off x="3266975" y="5039996"/>
                <a:ext cx="1322196" cy="32567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4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5434903" y="3701963"/>
              <a:ext cx="1322196" cy="1977915"/>
              <a:chOff x="5434903" y="3701963"/>
              <a:chExt cx="1322196" cy="1977915"/>
            </a:xfrm>
          </p:grpSpPr>
          <p:sp>
            <p:nvSpPr>
              <p:cNvPr id="28" name="Oval 27"/>
              <p:cNvSpPr/>
              <p:nvPr/>
            </p:nvSpPr>
            <p:spPr bwMode="auto">
              <a:xfrm flipH="1">
                <a:off x="6019769" y="3701963"/>
                <a:ext cx="152464" cy="152456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4127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6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 bwMode="auto">
              <a:xfrm>
                <a:off x="5434903" y="5365670"/>
                <a:ext cx="1322196" cy="3142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solidFill>
                      <a:schemeClr val="bg1"/>
                    </a:solidFill>
                    <a:cs typeface="+mn-ea"/>
                    <a:sym typeface="+mn-lt"/>
                  </a:rPr>
                  <a:t>Supporting text here.</a:t>
                </a:r>
              </a:p>
            </p:txBody>
          </p:sp>
          <p:sp>
            <p:nvSpPr>
              <p:cNvPr id="30" name="TextBox 29"/>
              <p:cNvSpPr txBox="1"/>
              <p:nvPr/>
            </p:nvSpPr>
            <p:spPr bwMode="auto">
              <a:xfrm>
                <a:off x="5434903" y="5039996"/>
                <a:ext cx="1322196" cy="32567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4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7602828" y="3701963"/>
              <a:ext cx="1322196" cy="1977915"/>
              <a:chOff x="7602828" y="3701963"/>
              <a:chExt cx="1322196" cy="1977915"/>
            </a:xfrm>
          </p:grpSpPr>
          <p:sp>
            <p:nvSpPr>
              <p:cNvPr id="23" name="Oval 22"/>
              <p:cNvSpPr/>
              <p:nvPr/>
            </p:nvSpPr>
            <p:spPr bwMode="auto">
              <a:xfrm flipH="1">
                <a:off x="8187694" y="3701963"/>
                <a:ext cx="152464" cy="152456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4127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6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 bwMode="auto">
              <a:xfrm>
                <a:off x="7602828" y="5365670"/>
                <a:ext cx="1322196" cy="3142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000" dirty="0" err="1">
                    <a:solidFill>
                      <a:schemeClr val="bg1"/>
                    </a:solidFill>
                    <a:cs typeface="+mn-ea"/>
                    <a:sym typeface="+mn-lt"/>
                  </a:rPr>
                  <a:t>Supportng</a:t>
                </a:r>
                <a:r>
                  <a:rPr lang="en-US" altLang="zh-CN" sz="1000" dirty="0">
                    <a:solidFill>
                      <a:schemeClr val="bg1"/>
                    </a:solidFill>
                    <a:cs typeface="+mn-ea"/>
                    <a:sym typeface="+mn-lt"/>
                  </a:rPr>
                  <a:t> text here.</a:t>
                </a:r>
              </a:p>
            </p:txBody>
          </p:sp>
          <p:sp>
            <p:nvSpPr>
              <p:cNvPr id="25" name="TextBox 24"/>
              <p:cNvSpPr txBox="1"/>
              <p:nvPr/>
            </p:nvSpPr>
            <p:spPr bwMode="auto">
              <a:xfrm>
                <a:off x="7602828" y="5039996"/>
                <a:ext cx="1322196" cy="32567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4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9770756" y="3701963"/>
              <a:ext cx="1322196" cy="1977915"/>
              <a:chOff x="9770756" y="3701963"/>
              <a:chExt cx="1322196" cy="1977915"/>
            </a:xfrm>
          </p:grpSpPr>
          <p:sp>
            <p:nvSpPr>
              <p:cNvPr id="18" name="Oval 17"/>
              <p:cNvSpPr/>
              <p:nvPr/>
            </p:nvSpPr>
            <p:spPr bwMode="auto">
              <a:xfrm flipH="1">
                <a:off x="10355622" y="3701963"/>
                <a:ext cx="152464" cy="152456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4127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6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 bwMode="auto">
              <a:xfrm>
                <a:off x="9770756" y="5365670"/>
                <a:ext cx="1322196" cy="3142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solidFill>
                      <a:schemeClr val="bg1"/>
                    </a:solidFill>
                    <a:cs typeface="+mn-ea"/>
                    <a:sym typeface="+mn-lt"/>
                  </a:rPr>
                  <a:t>text here.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 bwMode="auto">
              <a:xfrm>
                <a:off x="9770756" y="5039996"/>
                <a:ext cx="1322196" cy="32567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4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Text here</a:t>
                </a:r>
              </a:p>
            </p:txBody>
          </p:sp>
        </p:grpSp>
      </p:grpSp>
      <p:pic>
        <p:nvPicPr>
          <p:cNvPr id="1026" name="Picture 2" descr="assets-global.website-files.com/621c8d7ad9e04933c4...">
            <a:extLst>
              <a:ext uri="{FF2B5EF4-FFF2-40B4-BE49-F238E27FC236}">
                <a16:creationId xmlns:a16="http://schemas.microsoft.com/office/drawing/2014/main" id="{BF5592A5-F066-D92D-A2D3-847C08B02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96" y="3854150"/>
            <a:ext cx="2133600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B1649BA6-506E-48B1-99FA-4D7A5552E147}"/>
              </a:ext>
            </a:extLst>
          </p:cNvPr>
          <p:cNvSpPr txBox="1"/>
          <p:nvPr/>
        </p:nvSpPr>
        <p:spPr>
          <a:xfrm>
            <a:off x="1401534" y="5865141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Slack</a:t>
            </a:r>
            <a:endParaRPr lang="zh-CN" altLang="en-US" dirty="0"/>
          </a:p>
        </p:txBody>
      </p:sp>
      <p:pic>
        <p:nvPicPr>
          <p:cNvPr id="1030" name="Picture 6" descr="Trello | Slack App Directory">
            <a:extLst>
              <a:ext uri="{FF2B5EF4-FFF2-40B4-BE49-F238E27FC236}">
                <a16:creationId xmlns:a16="http://schemas.microsoft.com/office/drawing/2014/main" id="{B04AB50E-F219-5083-048B-B40FE01DCC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365" y="4125289"/>
            <a:ext cx="1621200" cy="162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675F053C-B249-2B05-C606-665EACF6CAE1}"/>
              </a:ext>
            </a:extLst>
          </p:cNvPr>
          <p:cNvSpPr txBox="1"/>
          <p:nvPr/>
        </p:nvSpPr>
        <p:spPr>
          <a:xfrm>
            <a:off x="3473500" y="5865141"/>
            <a:ext cx="753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Trello</a:t>
            </a:r>
            <a:endParaRPr lang="zh-CN" altLang="en-US" dirty="0"/>
          </a:p>
        </p:txBody>
      </p:sp>
      <p:pic>
        <p:nvPicPr>
          <p:cNvPr id="1032" name="Picture 8" descr="GitHub - Wikipedia">
            <a:extLst>
              <a:ext uri="{FF2B5EF4-FFF2-40B4-BE49-F238E27FC236}">
                <a16:creationId xmlns:a16="http://schemas.microsoft.com/office/drawing/2014/main" id="{06ED6A08-B2E4-9BA0-8B37-8D1850BF1F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3507" y="4114080"/>
            <a:ext cx="1615602" cy="1615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9DEC27EA-89AE-B1DB-D132-9148DA1ECCD1}"/>
              </a:ext>
            </a:extLst>
          </p:cNvPr>
          <p:cNvSpPr txBox="1"/>
          <p:nvPr/>
        </p:nvSpPr>
        <p:spPr>
          <a:xfrm>
            <a:off x="5643191" y="5865141"/>
            <a:ext cx="864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Github</a:t>
            </a:r>
            <a:endParaRPr lang="zh-CN" altLang="en-US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47AB961-2079-889C-76D0-150FFEB7E706}"/>
              </a:ext>
            </a:extLst>
          </p:cNvPr>
          <p:cNvSpPr txBox="1"/>
          <p:nvPr/>
        </p:nvSpPr>
        <p:spPr>
          <a:xfrm>
            <a:off x="7692063" y="5865141"/>
            <a:ext cx="12961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Wordpress</a:t>
            </a:r>
            <a:endParaRPr lang="zh-CN" altLang="en-US" dirty="0"/>
          </a:p>
        </p:txBody>
      </p:sp>
      <p:pic>
        <p:nvPicPr>
          <p:cNvPr id="1036" name="Picture 12" descr="WordPress (@WordPress) / X">
            <a:extLst>
              <a:ext uri="{FF2B5EF4-FFF2-40B4-BE49-F238E27FC236}">
                <a16:creationId xmlns:a16="http://schemas.microsoft.com/office/drawing/2014/main" id="{B3F664F8-C791-5AE3-1426-094E8049B2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2344" y="4069640"/>
            <a:ext cx="1723163" cy="1723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SiteGround">
            <a:extLst>
              <a:ext uri="{FF2B5EF4-FFF2-40B4-BE49-F238E27FC236}">
                <a16:creationId xmlns:a16="http://schemas.microsoft.com/office/drawing/2014/main" id="{4F1BBE08-41FA-0C0A-8418-39AC98EE45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2770" y="4042432"/>
            <a:ext cx="1884029" cy="1884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7FFE876E-5F65-4B95-E177-0FE2E6974148}"/>
              </a:ext>
            </a:extLst>
          </p:cNvPr>
          <p:cNvSpPr txBox="1"/>
          <p:nvPr/>
        </p:nvSpPr>
        <p:spPr>
          <a:xfrm>
            <a:off x="9707527" y="5865087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Siteground</a:t>
            </a:r>
            <a:endParaRPr lang="zh-CN" alt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>
                <a:solidFill>
                  <a:schemeClr val="tx1"/>
                </a:solidFill>
                <a:cs typeface="+mn-ea"/>
                <a:sym typeface="+mn-lt"/>
              </a:rPr>
              <a:t>Our Workflow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5" name="Group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806927" y="2534566"/>
            <a:ext cx="10571226" cy="2336587"/>
            <a:chOff x="806927" y="2534566"/>
            <a:chExt cx="10571226" cy="2336587"/>
          </a:xfrm>
        </p:grpSpPr>
        <p:sp>
          <p:nvSpPr>
            <p:cNvPr id="9" name="Oval 8"/>
            <p:cNvSpPr/>
            <p:nvPr/>
          </p:nvSpPr>
          <p:spPr>
            <a:xfrm>
              <a:off x="1106078" y="2534566"/>
              <a:ext cx="961350" cy="961350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2909777" y="2534566"/>
              <a:ext cx="961350" cy="961350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4713476" y="2534566"/>
              <a:ext cx="961350" cy="961350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6517175" y="2534566"/>
              <a:ext cx="961350" cy="961350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8320874" y="2534566"/>
              <a:ext cx="961350" cy="961350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10124572" y="2534566"/>
              <a:ext cx="961350" cy="961350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dirty="0">
                <a:cs typeface="+mn-ea"/>
                <a:sym typeface="+mn-lt"/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2198557" y="3015241"/>
              <a:ext cx="58009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4002256" y="3015241"/>
              <a:ext cx="58009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5805955" y="3015241"/>
              <a:ext cx="58009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7609654" y="3015241"/>
              <a:ext cx="58009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9413353" y="3015241"/>
              <a:ext cx="58009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835658" y="3686370"/>
              <a:ext cx="150219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Project Managemen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639357" y="3686370"/>
              <a:ext cx="150219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Communication and Collaboration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443056" y="3686370"/>
              <a:ext cx="150219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Local Development Environment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246755" y="3686370"/>
              <a:ext cx="150219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Version Control and Collaboration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8050454" y="3686370"/>
              <a:ext cx="150219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Deploy to Staging Environment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9854153" y="3686370"/>
              <a:ext cx="150219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Live Site</a:t>
              </a: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806927" y="4118891"/>
              <a:ext cx="156426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Project Scope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Project Plan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Use Trello</a:t>
              </a:r>
            </a:p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2608319" y="4118891"/>
              <a:ext cx="156426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Use Slack</a:t>
              </a: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4409711" y="4118891"/>
              <a:ext cx="156426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XAMPP, </a:t>
              </a:r>
              <a:r>
                <a:rPr lang="en-US" altLang="zh-CN" sz="1100" dirty="0" err="1">
                  <a:cs typeface="+mn-ea"/>
                  <a:sym typeface="+mn-lt"/>
                </a:rPr>
                <a:t>Wordpress</a:t>
              </a:r>
              <a:r>
                <a:rPr lang="en-US" altLang="zh-CN" sz="1100" dirty="0">
                  <a:cs typeface="+mn-ea"/>
                  <a:sym typeface="+mn-lt"/>
                </a:rPr>
                <a:t>, </a:t>
              </a:r>
              <a:r>
                <a:rPr lang="en-US" altLang="zh-CN" sz="1100" dirty="0" err="1">
                  <a:cs typeface="+mn-ea"/>
                  <a:sym typeface="+mn-lt"/>
                </a:rPr>
                <a:t>VSCode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6211103" y="4118891"/>
              <a:ext cx="156426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GitHub for iteration</a:t>
              </a: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8012495" y="4118891"/>
              <a:ext cx="156426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 err="1">
                  <a:cs typeface="+mn-ea"/>
                  <a:sym typeface="+mn-lt"/>
                </a:rPr>
                <a:t>Siteground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9813887" y="4118891"/>
              <a:ext cx="156426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Testing and Run</a:t>
              </a:r>
            </a:p>
          </p:txBody>
        </p:sp>
        <p:sp>
          <p:nvSpPr>
            <p:cNvPr id="32" name="Freeform: Shape 31"/>
            <p:cNvSpPr/>
            <p:nvPr/>
          </p:nvSpPr>
          <p:spPr bwMode="auto">
            <a:xfrm>
              <a:off x="1395054" y="2823942"/>
              <a:ext cx="383399" cy="382598"/>
            </a:xfrm>
            <a:custGeom>
              <a:avLst/>
              <a:gdLst>
                <a:gd name="connsiteX0" fmla="*/ 481071 w 607991"/>
                <a:gd name="connsiteY0" fmla="*/ 506364 h 606722"/>
                <a:gd name="connsiteX1" fmla="*/ 460955 w 607991"/>
                <a:gd name="connsiteY1" fmla="*/ 516162 h 606722"/>
                <a:gd name="connsiteX2" fmla="*/ 455704 w 607991"/>
                <a:gd name="connsiteY2" fmla="*/ 530826 h 606722"/>
                <a:gd name="connsiteX3" fmla="*/ 480981 w 607991"/>
                <a:gd name="connsiteY3" fmla="*/ 556066 h 606722"/>
                <a:gd name="connsiteX4" fmla="*/ 506437 w 607991"/>
                <a:gd name="connsiteY4" fmla="*/ 530826 h 606722"/>
                <a:gd name="connsiteX5" fmla="*/ 501186 w 607991"/>
                <a:gd name="connsiteY5" fmla="*/ 516162 h 606722"/>
                <a:gd name="connsiteX6" fmla="*/ 481071 w 607991"/>
                <a:gd name="connsiteY6" fmla="*/ 506364 h 606722"/>
                <a:gd name="connsiteX7" fmla="*/ 126698 w 607991"/>
                <a:gd name="connsiteY7" fmla="*/ 506364 h 606722"/>
                <a:gd name="connsiteX8" fmla="*/ 106628 w 607991"/>
                <a:gd name="connsiteY8" fmla="*/ 516162 h 606722"/>
                <a:gd name="connsiteX9" fmla="*/ 101287 w 607991"/>
                <a:gd name="connsiteY9" fmla="*/ 530826 h 606722"/>
                <a:gd name="connsiteX10" fmla="*/ 126565 w 607991"/>
                <a:gd name="connsiteY10" fmla="*/ 556066 h 606722"/>
                <a:gd name="connsiteX11" fmla="*/ 152020 w 607991"/>
                <a:gd name="connsiteY11" fmla="*/ 530826 h 606722"/>
                <a:gd name="connsiteX12" fmla="*/ 146769 w 607991"/>
                <a:gd name="connsiteY12" fmla="*/ 516162 h 606722"/>
                <a:gd name="connsiteX13" fmla="*/ 126698 w 607991"/>
                <a:gd name="connsiteY13" fmla="*/ 506364 h 606722"/>
                <a:gd name="connsiteX14" fmla="*/ 354520 w 607991"/>
                <a:gd name="connsiteY14" fmla="*/ 328623 h 606722"/>
                <a:gd name="connsiteX15" fmla="*/ 500562 w 607991"/>
                <a:gd name="connsiteY15" fmla="*/ 328623 h 606722"/>
                <a:gd name="connsiteX16" fmla="*/ 531710 w 607991"/>
                <a:gd name="connsiteY16" fmla="*/ 353885 h 606722"/>
                <a:gd name="connsiteX17" fmla="*/ 354520 w 607991"/>
                <a:gd name="connsiteY17" fmla="*/ 353885 h 606722"/>
                <a:gd name="connsiteX18" fmla="*/ 227926 w 607991"/>
                <a:gd name="connsiteY18" fmla="*/ 328623 h 606722"/>
                <a:gd name="connsiteX19" fmla="*/ 303925 w 607991"/>
                <a:gd name="connsiteY19" fmla="*/ 328623 h 606722"/>
                <a:gd name="connsiteX20" fmla="*/ 303925 w 607991"/>
                <a:gd name="connsiteY20" fmla="*/ 353885 h 606722"/>
                <a:gd name="connsiteX21" fmla="*/ 227926 w 607991"/>
                <a:gd name="connsiteY21" fmla="*/ 353885 h 606722"/>
                <a:gd name="connsiteX22" fmla="*/ 404971 w 607991"/>
                <a:gd name="connsiteY22" fmla="*/ 50656 h 606722"/>
                <a:gd name="connsiteX23" fmla="*/ 404971 w 607991"/>
                <a:gd name="connsiteY23" fmla="*/ 101313 h 606722"/>
                <a:gd name="connsiteX24" fmla="*/ 455704 w 607991"/>
                <a:gd name="connsiteY24" fmla="*/ 101313 h 606722"/>
                <a:gd name="connsiteX25" fmla="*/ 455704 w 607991"/>
                <a:gd name="connsiteY25" fmla="*/ 50656 h 606722"/>
                <a:gd name="connsiteX26" fmla="*/ 379694 w 607991"/>
                <a:gd name="connsiteY26" fmla="*/ 0 h 606722"/>
                <a:gd name="connsiteX27" fmla="*/ 480892 w 607991"/>
                <a:gd name="connsiteY27" fmla="*/ 0 h 606722"/>
                <a:gd name="connsiteX28" fmla="*/ 531625 w 607991"/>
                <a:gd name="connsiteY28" fmla="*/ 0 h 606722"/>
                <a:gd name="connsiteX29" fmla="*/ 556902 w 607991"/>
                <a:gd name="connsiteY29" fmla="*/ 25417 h 606722"/>
                <a:gd name="connsiteX30" fmla="*/ 531625 w 607991"/>
                <a:gd name="connsiteY30" fmla="*/ 50656 h 606722"/>
                <a:gd name="connsiteX31" fmla="*/ 506259 w 607991"/>
                <a:gd name="connsiteY31" fmla="*/ 50656 h 606722"/>
                <a:gd name="connsiteX32" fmla="*/ 506259 w 607991"/>
                <a:gd name="connsiteY32" fmla="*/ 101046 h 606722"/>
                <a:gd name="connsiteX33" fmla="*/ 531625 w 607991"/>
                <a:gd name="connsiteY33" fmla="*/ 101046 h 606722"/>
                <a:gd name="connsiteX34" fmla="*/ 556902 w 607991"/>
                <a:gd name="connsiteY34" fmla="*/ 126286 h 606722"/>
                <a:gd name="connsiteX35" fmla="*/ 531625 w 607991"/>
                <a:gd name="connsiteY35" fmla="*/ 151525 h 606722"/>
                <a:gd name="connsiteX36" fmla="*/ 480892 w 607991"/>
                <a:gd name="connsiteY36" fmla="*/ 151525 h 606722"/>
                <a:gd name="connsiteX37" fmla="*/ 379694 w 607991"/>
                <a:gd name="connsiteY37" fmla="*/ 151525 h 606722"/>
                <a:gd name="connsiteX38" fmla="*/ 354417 w 607991"/>
                <a:gd name="connsiteY38" fmla="*/ 126286 h 606722"/>
                <a:gd name="connsiteX39" fmla="*/ 354417 w 607991"/>
                <a:gd name="connsiteY39" fmla="*/ 101046 h 606722"/>
                <a:gd name="connsiteX40" fmla="*/ 101287 w 607991"/>
                <a:gd name="connsiteY40" fmla="*/ 101046 h 606722"/>
                <a:gd name="connsiteX41" fmla="*/ 76010 w 607991"/>
                <a:gd name="connsiteY41" fmla="*/ 126286 h 606722"/>
                <a:gd name="connsiteX42" fmla="*/ 76010 w 607991"/>
                <a:gd name="connsiteY42" fmla="*/ 176853 h 606722"/>
                <a:gd name="connsiteX43" fmla="*/ 126743 w 607991"/>
                <a:gd name="connsiteY43" fmla="*/ 252571 h 606722"/>
                <a:gd name="connsiteX44" fmla="*/ 127010 w 607991"/>
                <a:gd name="connsiteY44" fmla="*/ 252749 h 606722"/>
                <a:gd name="connsiteX45" fmla="*/ 133507 w 607991"/>
                <a:gd name="connsiteY45" fmla="*/ 241640 h 606722"/>
                <a:gd name="connsiteX46" fmla="*/ 203732 w 607991"/>
                <a:gd name="connsiteY46" fmla="*/ 202093 h 606722"/>
                <a:gd name="connsiteX47" fmla="*/ 374354 w 607991"/>
                <a:gd name="connsiteY47" fmla="*/ 202093 h 606722"/>
                <a:gd name="connsiteX48" fmla="*/ 444134 w 607991"/>
                <a:gd name="connsiteY48" fmla="*/ 240751 h 606722"/>
                <a:gd name="connsiteX49" fmla="*/ 467275 w 607991"/>
                <a:gd name="connsiteY49" fmla="*/ 277988 h 606722"/>
                <a:gd name="connsiteX50" fmla="*/ 329228 w 607991"/>
                <a:gd name="connsiteY50" fmla="*/ 277988 h 606722"/>
                <a:gd name="connsiteX51" fmla="*/ 202664 w 607991"/>
                <a:gd name="connsiteY51" fmla="*/ 277988 h 606722"/>
                <a:gd name="connsiteX52" fmla="*/ 177297 w 607991"/>
                <a:gd name="connsiteY52" fmla="*/ 303228 h 606722"/>
                <a:gd name="connsiteX53" fmla="*/ 177297 w 607991"/>
                <a:gd name="connsiteY53" fmla="*/ 379124 h 606722"/>
                <a:gd name="connsiteX54" fmla="*/ 202664 w 607991"/>
                <a:gd name="connsiteY54" fmla="*/ 404363 h 606722"/>
                <a:gd name="connsiteX55" fmla="*/ 329139 w 607991"/>
                <a:gd name="connsiteY55" fmla="*/ 404363 h 606722"/>
                <a:gd name="connsiteX56" fmla="*/ 329139 w 607991"/>
                <a:gd name="connsiteY56" fmla="*/ 404274 h 606722"/>
                <a:gd name="connsiteX57" fmla="*/ 607991 w 607991"/>
                <a:gd name="connsiteY57" fmla="*/ 404274 h 606722"/>
                <a:gd name="connsiteX58" fmla="*/ 607991 w 607991"/>
                <a:gd name="connsiteY58" fmla="*/ 480170 h 606722"/>
                <a:gd name="connsiteX59" fmla="*/ 557347 w 607991"/>
                <a:gd name="connsiteY59" fmla="*/ 530826 h 606722"/>
                <a:gd name="connsiteX60" fmla="*/ 481426 w 607991"/>
                <a:gd name="connsiteY60" fmla="*/ 606722 h 606722"/>
                <a:gd name="connsiteX61" fmla="*/ 405416 w 607991"/>
                <a:gd name="connsiteY61" fmla="*/ 530826 h 606722"/>
                <a:gd name="connsiteX62" fmla="*/ 202753 w 607991"/>
                <a:gd name="connsiteY62" fmla="*/ 530826 h 606722"/>
                <a:gd name="connsiteX63" fmla="*/ 126743 w 607991"/>
                <a:gd name="connsiteY63" fmla="*/ 606722 h 606722"/>
                <a:gd name="connsiteX64" fmla="*/ 50733 w 607991"/>
                <a:gd name="connsiteY64" fmla="*/ 530826 h 606722"/>
                <a:gd name="connsiteX65" fmla="*/ 0 w 607991"/>
                <a:gd name="connsiteY65" fmla="*/ 480348 h 606722"/>
                <a:gd name="connsiteX66" fmla="*/ 0 w 607991"/>
                <a:gd name="connsiteY66" fmla="*/ 404363 h 606722"/>
                <a:gd name="connsiteX67" fmla="*/ 50733 w 607991"/>
                <a:gd name="connsiteY67" fmla="*/ 353884 h 606722"/>
                <a:gd name="connsiteX68" fmla="*/ 67466 w 607991"/>
                <a:gd name="connsiteY68" fmla="*/ 353884 h 606722"/>
                <a:gd name="connsiteX69" fmla="*/ 92476 w 607991"/>
                <a:gd name="connsiteY69" fmla="*/ 312381 h 606722"/>
                <a:gd name="connsiteX70" fmla="*/ 99774 w 607991"/>
                <a:gd name="connsiteY70" fmla="*/ 299851 h 606722"/>
                <a:gd name="connsiteX71" fmla="*/ 25188 w 607991"/>
                <a:gd name="connsiteY71" fmla="*/ 176942 h 606722"/>
                <a:gd name="connsiteX72" fmla="*/ 25188 w 607991"/>
                <a:gd name="connsiteY72" fmla="*/ 126286 h 606722"/>
                <a:gd name="connsiteX73" fmla="*/ 101198 w 607991"/>
                <a:gd name="connsiteY73" fmla="*/ 50568 h 606722"/>
                <a:gd name="connsiteX74" fmla="*/ 354417 w 607991"/>
                <a:gd name="connsiteY74" fmla="*/ 50568 h 606722"/>
                <a:gd name="connsiteX75" fmla="*/ 354417 w 607991"/>
                <a:gd name="connsiteY75" fmla="*/ 25328 h 606722"/>
                <a:gd name="connsiteX76" fmla="*/ 379694 w 607991"/>
                <a:gd name="connsiteY76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07991" h="606722">
                  <a:moveTo>
                    <a:pt x="481071" y="506364"/>
                  </a:moveTo>
                  <a:cubicBezTo>
                    <a:pt x="473461" y="506364"/>
                    <a:pt x="465851" y="509630"/>
                    <a:pt x="460955" y="516162"/>
                  </a:cubicBezTo>
                  <a:cubicBezTo>
                    <a:pt x="457840" y="520428"/>
                    <a:pt x="455704" y="525227"/>
                    <a:pt x="455704" y="530826"/>
                  </a:cubicBezTo>
                  <a:cubicBezTo>
                    <a:pt x="455704" y="544690"/>
                    <a:pt x="467008" y="556066"/>
                    <a:pt x="480981" y="556066"/>
                  </a:cubicBezTo>
                  <a:cubicBezTo>
                    <a:pt x="495044" y="556066"/>
                    <a:pt x="506437" y="544779"/>
                    <a:pt x="506437" y="530826"/>
                  </a:cubicBezTo>
                  <a:cubicBezTo>
                    <a:pt x="506437" y="525227"/>
                    <a:pt x="504301" y="520251"/>
                    <a:pt x="501186" y="516162"/>
                  </a:cubicBezTo>
                  <a:cubicBezTo>
                    <a:pt x="496290" y="509630"/>
                    <a:pt x="488680" y="506364"/>
                    <a:pt x="481071" y="506364"/>
                  </a:cubicBezTo>
                  <a:close/>
                  <a:moveTo>
                    <a:pt x="126698" y="506364"/>
                  </a:moveTo>
                  <a:cubicBezTo>
                    <a:pt x="119088" y="506364"/>
                    <a:pt x="111478" y="509630"/>
                    <a:pt x="106628" y="516162"/>
                  </a:cubicBezTo>
                  <a:cubicBezTo>
                    <a:pt x="103424" y="520428"/>
                    <a:pt x="101287" y="525227"/>
                    <a:pt x="101287" y="530826"/>
                  </a:cubicBezTo>
                  <a:cubicBezTo>
                    <a:pt x="101287" y="544690"/>
                    <a:pt x="112591" y="556066"/>
                    <a:pt x="126565" y="556066"/>
                  </a:cubicBezTo>
                  <a:cubicBezTo>
                    <a:pt x="140450" y="556066"/>
                    <a:pt x="151931" y="544779"/>
                    <a:pt x="152020" y="530826"/>
                  </a:cubicBezTo>
                  <a:cubicBezTo>
                    <a:pt x="152020" y="525227"/>
                    <a:pt x="149884" y="520251"/>
                    <a:pt x="146769" y="516162"/>
                  </a:cubicBezTo>
                  <a:cubicBezTo>
                    <a:pt x="141918" y="509630"/>
                    <a:pt x="134308" y="506364"/>
                    <a:pt x="126698" y="506364"/>
                  </a:cubicBezTo>
                  <a:close/>
                  <a:moveTo>
                    <a:pt x="354520" y="328623"/>
                  </a:moveTo>
                  <a:lnTo>
                    <a:pt x="500562" y="328623"/>
                  </a:lnTo>
                  <a:cubicBezTo>
                    <a:pt x="510974" y="342321"/>
                    <a:pt x="522544" y="353885"/>
                    <a:pt x="531710" y="353885"/>
                  </a:cubicBezTo>
                  <a:lnTo>
                    <a:pt x="354520" y="353885"/>
                  </a:lnTo>
                  <a:close/>
                  <a:moveTo>
                    <a:pt x="227926" y="328623"/>
                  </a:moveTo>
                  <a:lnTo>
                    <a:pt x="303925" y="328623"/>
                  </a:lnTo>
                  <a:lnTo>
                    <a:pt x="303925" y="353885"/>
                  </a:lnTo>
                  <a:lnTo>
                    <a:pt x="227926" y="353885"/>
                  </a:lnTo>
                  <a:close/>
                  <a:moveTo>
                    <a:pt x="404971" y="50656"/>
                  </a:moveTo>
                  <a:lnTo>
                    <a:pt x="404971" y="101313"/>
                  </a:lnTo>
                  <a:lnTo>
                    <a:pt x="455704" y="101313"/>
                  </a:lnTo>
                  <a:lnTo>
                    <a:pt x="455704" y="50656"/>
                  </a:lnTo>
                  <a:close/>
                  <a:moveTo>
                    <a:pt x="379694" y="0"/>
                  </a:moveTo>
                  <a:lnTo>
                    <a:pt x="480892" y="0"/>
                  </a:lnTo>
                  <a:lnTo>
                    <a:pt x="531625" y="0"/>
                  </a:lnTo>
                  <a:cubicBezTo>
                    <a:pt x="545599" y="0"/>
                    <a:pt x="556902" y="11553"/>
                    <a:pt x="556902" y="25417"/>
                  </a:cubicBezTo>
                  <a:cubicBezTo>
                    <a:pt x="556902" y="39281"/>
                    <a:pt x="545599" y="50656"/>
                    <a:pt x="531625" y="50656"/>
                  </a:cubicBezTo>
                  <a:lnTo>
                    <a:pt x="506259" y="50656"/>
                  </a:lnTo>
                  <a:lnTo>
                    <a:pt x="506259" y="101046"/>
                  </a:lnTo>
                  <a:lnTo>
                    <a:pt x="531625" y="101046"/>
                  </a:lnTo>
                  <a:cubicBezTo>
                    <a:pt x="545599" y="101046"/>
                    <a:pt x="556902" y="112511"/>
                    <a:pt x="556902" y="126286"/>
                  </a:cubicBezTo>
                  <a:cubicBezTo>
                    <a:pt x="556902" y="140150"/>
                    <a:pt x="545599" y="151525"/>
                    <a:pt x="531625" y="151525"/>
                  </a:cubicBezTo>
                  <a:lnTo>
                    <a:pt x="480892" y="151525"/>
                  </a:lnTo>
                  <a:lnTo>
                    <a:pt x="379694" y="151525"/>
                  </a:lnTo>
                  <a:cubicBezTo>
                    <a:pt x="365720" y="151525"/>
                    <a:pt x="354417" y="140327"/>
                    <a:pt x="354417" y="126286"/>
                  </a:cubicBezTo>
                  <a:lnTo>
                    <a:pt x="354417" y="101046"/>
                  </a:lnTo>
                  <a:lnTo>
                    <a:pt x="101287" y="101046"/>
                  </a:lnTo>
                  <a:cubicBezTo>
                    <a:pt x="87492" y="101046"/>
                    <a:pt x="76010" y="112333"/>
                    <a:pt x="76010" y="126286"/>
                  </a:cubicBezTo>
                  <a:lnTo>
                    <a:pt x="76010" y="176853"/>
                  </a:lnTo>
                  <a:cubicBezTo>
                    <a:pt x="76010" y="252571"/>
                    <a:pt x="114193" y="252571"/>
                    <a:pt x="126743" y="252571"/>
                  </a:cubicBezTo>
                  <a:cubicBezTo>
                    <a:pt x="126743" y="252571"/>
                    <a:pt x="126921" y="252749"/>
                    <a:pt x="127010" y="252749"/>
                  </a:cubicBezTo>
                  <a:lnTo>
                    <a:pt x="133507" y="241640"/>
                  </a:lnTo>
                  <a:cubicBezTo>
                    <a:pt x="148638" y="216934"/>
                    <a:pt x="175517" y="202093"/>
                    <a:pt x="203732" y="202093"/>
                  </a:cubicBezTo>
                  <a:lnTo>
                    <a:pt x="374354" y="202093"/>
                  </a:lnTo>
                  <a:cubicBezTo>
                    <a:pt x="403013" y="202093"/>
                    <a:pt x="429092" y="216667"/>
                    <a:pt x="444134" y="240751"/>
                  </a:cubicBezTo>
                  <a:lnTo>
                    <a:pt x="467275" y="277988"/>
                  </a:lnTo>
                  <a:lnTo>
                    <a:pt x="329228" y="277988"/>
                  </a:lnTo>
                  <a:lnTo>
                    <a:pt x="202664" y="277988"/>
                  </a:lnTo>
                  <a:cubicBezTo>
                    <a:pt x="188601" y="277988"/>
                    <a:pt x="177297" y="289275"/>
                    <a:pt x="177297" y="303228"/>
                  </a:cubicBezTo>
                  <a:lnTo>
                    <a:pt x="177297" y="379124"/>
                  </a:lnTo>
                  <a:cubicBezTo>
                    <a:pt x="177297" y="392987"/>
                    <a:pt x="188601" y="404363"/>
                    <a:pt x="202664" y="404363"/>
                  </a:cubicBezTo>
                  <a:lnTo>
                    <a:pt x="329139" y="404363"/>
                  </a:lnTo>
                  <a:lnTo>
                    <a:pt x="329139" y="404274"/>
                  </a:lnTo>
                  <a:lnTo>
                    <a:pt x="607991" y="404274"/>
                  </a:lnTo>
                  <a:lnTo>
                    <a:pt x="607991" y="480170"/>
                  </a:lnTo>
                  <a:cubicBezTo>
                    <a:pt x="607991" y="508164"/>
                    <a:pt x="585206" y="530826"/>
                    <a:pt x="557347" y="530826"/>
                  </a:cubicBezTo>
                  <a:cubicBezTo>
                    <a:pt x="557347" y="572773"/>
                    <a:pt x="523259" y="606722"/>
                    <a:pt x="481426" y="606722"/>
                  </a:cubicBezTo>
                  <a:cubicBezTo>
                    <a:pt x="439416" y="606722"/>
                    <a:pt x="405416" y="572596"/>
                    <a:pt x="405416" y="530826"/>
                  </a:cubicBezTo>
                  <a:lnTo>
                    <a:pt x="202753" y="530826"/>
                  </a:lnTo>
                  <a:cubicBezTo>
                    <a:pt x="202753" y="572773"/>
                    <a:pt x="168753" y="606722"/>
                    <a:pt x="126743" y="606722"/>
                  </a:cubicBezTo>
                  <a:cubicBezTo>
                    <a:pt x="84733" y="606722"/>
                    <a:pt x="50733" y="572596"/>
                    <a:pt x="50733" y="530826"/>
                  </a:cubicBezTo>
                  <a:cubicBezTo>
                    <a:pt x="22696" y="530826"/>
                    <a:pt x="0" y="508253"/>
                    <a:pt x="0" y="480348"/>
                  </a:cubicBezTo>
                  <a:lnTo>
                    <a:pt x="0" y="404363"/>
                  </a:lnTo>
                  <a:cubicBezTo>
                    <a:pt x="0" y="376546"/>
                    <a:pt x="22696" y="354062"/>
                    <a:pt x="50733" y="353884"/>
                  </a:cubicBezTo>
                  <a:lnTo>
                    <a:pt x="67466" y="353884"/>
                  </a:lnTo>
                  <a:cubicBezTo>
                    <a:pt x="73874" y="345619"/>
                    <a:pt x="87581" y="321091"/>
                    <a:pt x="92476" y="312381"/>
                  </a:cubicBezTo>
                  <a:cubicBezTo>
                    <a:pt x="95413" y="307049"/>
                    <a:pt x="97994" y="302694"/>
                    <a:pt x="99774" y="299851"/>
                  </a:cubicBezTo>
                  <a:cubicBezTo>
                    <a:pt x="52691" y="287942"/>
                    <a:pt x="25188" y="244129"/>
                    <a:pt x="25188" y="176942"/>
                  </a:cubicBezTo>
                  <a:lnTo>
                    <a:pt x="25188" y="126286"/>
                  </a:lnTo>
                  <a:cubicBezTo>
                    <a:pt x="25188" y="84516"/>
                    <a:pt x="59277" y="50568"/>
                    <a:pt x="101198" y="50568"/>
                  </a:cubicBezTo>
                  <a:lnTo>
                    <a:pt x="354417" y="50568"/>
                  </a:lnTo>
                  <a:lnTo>
                    <a:pt x="354417" y="25328"/>
                  </a:lnTo>
                  <a:cubicBezTo>
                    <a:pt x="354417" y="11464"/>
                    <a:pt x="365720" y="0"/>
                    <a:pt x="37969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3" name="Freeform: Shape 32"/>
            <p:cNvSpPr/>
            <p:nvPr/>
          </p:nvSpPr>
          <p:spPr bwMode="auto">
            <a:xfrm>
              <a:off x="3197682" y="2823942"/>
              <a:ext cx="383399" cy="382598"/>
            </a:xfrm>
            <a:custGeom>
              <a:avLst/>
              <a:gdLst>
                <a:gd name="connsiteX0" fmla="*/ 481071 w 607991"/>
                <a:gd name="connsiteY0" fmla="*/ 506364 h 606722"/>
                <a:gd name="connsiteX1" fmla="*/ 460955 w 607991"/>
                <a:gd name="connsiteY1" fmla="*/ 516162 h 606722"/>
                <a:gd name="connsiteX2" fmla="*/ 455704 w 607991"/>
                <a:gd name="connsiteY2" fmla="*/ 530826 h 606722"/>
                <a:gd name="connsiteX3" fmla="*/ 480981 w 607991"/>
                <a:gd name="connsiteY3" fmla="*/ 556066 h 606722"/>
                <a:gd name="connsiteX4" fmla="*/ 506437 w 607991"/>
                <a:gd name="connsiteY4" fmla="*/ 530826 h 606722"/>
                <a:gd name="connsiteX5" fmla="*/ 501186 w 607991"/>
                <a:gd name="connsiteY5" fmla="*/ 516162 h 606722"/>
                <a:gd name="connsiteX6" fmla="*/ 481071 w 607991"/>
                <a:gd name="connsiteY6" fmla="*/ 506364 h 606722"/>
                <a:gd name="connsiteX7" fmla="*/ 126698 w 607991"/>
                <a:gd name="connsiteY7" fmla="*/ 506364 h 606722"/>
                <a:gd name="connsiteX8" fmla="*/ 106628 w 607991"/>
                <a:gd name="connsiteY8" fmla="*/ 516162 h 606722"/>
                <a:gd name="connsiteX9" fmla="*/ 101287 w 607991"/>
                <a:gd name="connsiteY9" fmla="*/ 530826 h 606722"/>
                <a:gd name="connsiteX10" fmla="*/ 126565 w 607991"/>
                <a:gd name="connsiteY10" fmla="*/ 556066 h 606722"/>
                <a:gd name="connsiteX11" fmla="*/ 152020 w 607991"/>
                <a:gd name="connsiteY11" fmla="*/ 530826 h 606722"/>
                <a:gd name="connsiteX12" fmla="*/ 146769 w 607991"/>
                <a:gd name="connsiteY12" fmla="*/ 516162 h 606722"/>
                <a:gd name="connsiteX13" fmla="*/ 126698 w 607991"/>
                <a:gd name="connsiteY13" fmla="*/ 506364 h 606722"/>
                <a:gd name="connsiteX14" fmla="*/ 354520 w 607991"/>
                <a:gd name="connsiteY14" fmla="*/ 328623 h 606722"/>
                <a:gd name="connsiteX15" fmla="*/ 500562 w 607991"/>
                <a:gd name="connsiteY15" fmla="*/ 328623 h 606722"/>
                <a:gd name="connsiteX16" fmla="*/ 531710 w 607991"/>
                <a:gd name="connsiteY16" fmla="*/ 353885 h 606722"/>
                <a:gd name="connsiteX17" fmla="*/ 354520 w 607991"/>
                <a:gd name="connsiteY17" fmla="*/ 353885 h 606722"/>
                <a:gd name="connsiteX18" fmla="*/ 227926 w 607991"/>
                <a:gd name="connsiteY18" fmla="*/ 328623 h 606722"/>
                <a:gd name="connsiteX19" fmla="*/ 303925 w 607991"/>
                <a:gd name="connsiteY19" fmla="*/ 328623 h 606722"/>
                <a:gd name="connsiteX20" fmla="*/ 303925 w 607991"/>
                <a:gd name="connsiteY20" fmla="*/ 353885 h 606722"/>
                <a:gd name="connsiteX21" fmla="*/ 227926 w 607991"/>
                <a:gd name="connsiteY21" fmla="*/ 353885 h 606722"/>
                <a:gd name="connsiteX22" fmla="*/ 404971 w 607991"/>
                <a:gd name="connsiteY22" fmla="*/ 50656 h 606722"/>
                <a:gd name="connsiteX23" fmla="*/ 404971 w 607991"/>
                <a:gd name="connsiteY23" fmla="*/ 101313 h 606722"/>
                <a:gd name="connsiteX24" fmla="*/ 455704 w 607991"/>
                <a:gd name="connsiteY24" fmla="*/ 101313 h 606722"/>
                <a:gd name="connsiteX25" fmla="*/ 455704 w 607991"/>
                <a:gd name="connsiteY25" fmla="*/ 50656 h 606722"/>
                <a:gd name="connsiteX26" fmla="*/ 379694 w 607991"/>
                <a:gd name="connsiteY26" fmla="*/ 0 h 606722"/>
                <a:gd name="connsiteX27" fmla="*/ 480892 w 607991"/>
                <a:gd name="connsiteY27" fmla="*/ 0 h 606722"/>
                <a:gd name="connsiteX28" fmla="*/ 531625 w 607991"/>
                <a:gd name="connsiteY28" fmla="*/ 0 h 606722"/>
                <a:gd name="connsiteX29" fmla="*/ 556902 w 607991"/>
                <a:gd name="connsiteY29" fmla="*/ 25417 h 606722"/>
                <a:gd name="connsiteX30" fmla="*/ 531625 w 607991"/>
                <a:gd name="connsiteY30" fmla="*/ 50656 h 606722"/>
                <a:gd name="connsiteX31" fmla="*/ 506259 w 607991"/>
                <a:gd name="connsiteY31" fmla="*/ 50656 h 606722"/>
                <a:gd name="connsiteX32" fmla="*/ 506259 w 607991"/>
                <a:gd name="connsiteY32" fmla="*/ 101046 h 606722"/>
                <a:gd name="connsiteX33" fmla="*/ 531625 w 607991"/>
                <a:gd name="connsiteY33" fmla="*/ 101046 h 606722"/>
                <a:gd name="connsiteX34" fmla="*/ 556902 w 607991"/>
                <a:gd name="connsiteY34" fmla="*/ 126286 h 606722"/>
                <a:gd name="connsiteX35" fmla="*/ 531625 w 607991"/>
                <a:gd name="connsiteY35" fmla="*/ 151525 h 606722"/>
                <a:gd name="connsiteX36" fmla="*/ 480892 w 607991"/>
                <a:gd name="connsiteY36" fmla="*/ 151525 h 606722"/>
                <a:gd name="connsiteX37" fmla="*/ 379694 w 607991"/>
                <a:gd name="connsiteY37" fmla="*/ 151525 h 606722"/>
                <a:gd name="connsiteX38" fmla="*/ 354417 w 607991"/>
                <a:gd name="connsiteY38" fmla="*/ 126286 h 606722"/>
                <a:gd name="connsiteX39" fmla="*/ 354417 w 607991"/>
                <a:gd name="connsiteY39" fmla="*/ 101046 h 606722"/>
                <a:gd name="connsiteX40" fmla="*/ 101287 w 607991"/>
                <a:gd name="connsiteY40" fmla="*/ 101046 h 606722"/>
                <a:gd name="connsiteX41" fmla="*/ 76010 w 607991"/>
                <a:gd name="connsiteY41" fmla="*/ 126286 h 606722"/>
                <a:gd name="connsiteX42" fmla="*/ 76010 w 607991"/>
                <a:gd name="connsiteY42" fmla="*/ 176853 h 606722"/>
                <a:gd name="connsiteX43" fmla="*/ 126743 w 607991"/>
                <a:gd name="connsiteY43" fmla="*/ 252571 h 606722"/>
                <a:gd name="connsiteX44" fmla="*/ 127010 w 607991"/>
                <a:gd name="connsiteY44" fmla="*/ 252749 h 606722"/>
                <a:gd name="connsiteX45" fmla="*/ 133507 w 607991"/>
                <a:gd name="connsiteY45" fmla="*/ 241640 h 606722"/>
                <a:gd name="connsiteX46" fmla="*/ 203732 w 607991"/>
                <a:gd name="connsiteY46" fmla="*/ 202093 h 606722"/>
                <a:gd name="connsiteX47" fmla="*/ 374354 w 607991"/>
                <a:gd name="connsiteY47" fmla="*/ 202093 h 606722"/>
                <a:gd name="connsiteX48" fmla="*/ 444134 w 607991"/>
                <a:gd name="connsiteY48" fmla="*/ 240751 h 606722"/>
                <a:gd name="connsiteX49" fmla="*/ 467275 w 607991"/>
                <a:gd name="connsiteY49" fmla="*/ 277988 h 606722"/>
                <a:gd name="connsiteX50" fmla="*/ 329228 w 607991"/>
                <a:gd name="connsiteY50" fmla="*/ 277988 h 606722"/>
                <a:gd name="connsiteX51" fmla="*/ 202664 w 607991"/>
                <a:gd name="connsiteY51" fmla="*/ 277988 h 606722"/>
                <a:gd name="connsiteX52" fmla="*/ 177297 w 607991"/>
                <a:gd name="connsiteY52" fmla="*/ 303228 h 606722"/>
                <a:gd name="connsiteX53" fmla="*/ 177297 w 607991"/>
                <a:gd name="connsiteY53" fmla="*/ 379124 h 606722"/>
                <a:gd name="connsiteX54" fmla="*/ 202664 w 607991"/>
                <a:gd name="connsiteY54" fmla="*/ 404363 h 606722"/>
                <a:gd name="connsiteX55" fmla="*/ 329139 w 607991"/>
                <a:gd name="connsiteY55" fmla="*/ 404363 h 606722"/>
                <a:gd name="connsiteX56" fmla="*/ 329139 w 607991"/>
                <a:gd name="connsiteY56" fmla="*/ 404274 h 606722"/>
                <a:gd name="connsiteX57" fmla="*/ 607991 w 607991"/>
                <a:gd name="connsiteY57" fmla="*/ 404274 h 606722"/>
                <a:gd name="connsiteX58" fmla="*/ 607991 w 607991"/>
                <a:gd name="connsiteY58" fmla="*/ 480170 h 606722"/>
                <a:gd name="connsiteX59" fmla="*/ 557347 w 607991"/>
                <a:gd name="connsiteY59" fmla="*/ 530826 h 606722"/>
                <a:gd name="connsiteX60" fmla="*/ 481426 w 607991"/>
                <a:gd name="connsiteY60" fmla="*/ 606722 h 606722"/>
                <a:gd name="connsiteX61" fmla="*/ 405416 w 607991"/>
                <a:gd name="connsiteY61" fmla="*/ 530826 h 606722"/>
                <a:gd name="connsiteX62" fmla="*/ 202753 w 607991"/>
                <a:gd name="connsiteY62" fmla="*/ 530826 h 606722"/>
                <a:gd name="connsiteX63" fmla="*/ 126743 w 607991"/>
                <a:gd name="connsiteY63" fmla="*/ 606722 h 606722"/>
                <a:gd name="connsiteX64" fmla="*/ 50733 w 607991"/>
                <a:gd name="connsiteY64" fmla="*/ 530826 h 606722"/>
                <a:gd name="connsiteX65" fmla="*/ 0 w 607991"/>
                <a:gd name="connsiteY65" fmla="*/ 480348 h 606722"/>
                <a:gd name="connsiteX66" fmla="*/ 0 w 607991"/>
                <a:gd name="connsiteY66" fmla="*/ 404363 h 606722"/>
                <a:gd name="connsiteX67" fmla="*/ 50733 w 607991"/>
                <a:gd name="connsiteY67" fmla="*/ 353884 h 606722"/>
                <a:gd name="connsiteX68" fmla="*/ 67466 w 607991"/>
                <a:gd name="connsiteY68" fmla="*/ 353884 h 606722"/>
                <a:gd name="connsiteX69" fmla="*/ 92476 w 607991"/>
                <a:gd name="connsiteY69" fmla="*/ 312381 h 606722"/>
                <a:gd name="connsiteX70" fmla="*/ 99774 w 607991"/>
                <a:gd name="connsiteY70" fmla="*/ 299851 h 606722"/>
                <a:gd name="connsiteX71" fmla="*/ 25188 w 607991"/>
                <a:gd name="connsiteY71" fmla="*/ 176942 h 606722"/>
                <a:gd name="connsiteX72" fmla="*/ 25188 w 607991"/>
                <a:gd name="connsiteY72" fmla="*/ 126286 h 606722"/>
                <a:gd name="connsiteX73" fmla="*/ 101198 w 607991"/>
                <a:gd name="connsiteY73" fmla="*/ 50568 h 606722"/>
                <a:gd name="connsiteX74" fmla="*/ 354417 w 607991"/>
                <a:gd name="connsiteY74" fmla="*/ 50568 h 606722"/>
                <a:gd name="connsiteX75" fmla="*/ 354417 w 607991"/>
                <a:gd name="connsiteY75" fmla="*/ 25328 h 606722"/>
                <a:gd name="connsiteX76" fmla="*/ 379694 w 607991"/>
                <a:gd name="connsiteY76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07991" h="606722">
                  <a:moveTo>
                    <a:pt x="481071" y="506364"/>
                  </a:moveTo>
                  <a:cubicBezTo>
                    <a:pt x="473461" y="506364"/>
                    <a:pt x="465851" y="509630"/>
                    <a:pt x="460955" y="516162"/>
                  </a:cubicBezTo>
                  <a:cubicBezTo>
                    <a:pt x="457840" y="520428"/>
                    <a:pt x="455704" y="525227"/>
                    <a:pt x="455704" y="530826"/>
                  </a:cubicBezTo>
                  <a:cubicBezTo>
                    <a:pt x="455704" y="544690"/>
                    <a:pt x="467008" y="556066"/>
                    <a:pt x="480981" y="556066"/>
                  </a:cubicBezTo>
                  <a:cubicBezTo>
                    <a:pt x="495044" y="556066"/>
                    <a:pt x="506437" y="544779"/>
                    <a:pt x="506437" y="530826"/>
                  </a:cubicBezTo>
                  <a:cubicBezTo>
                    <a:pt x="506437" y="525227"/>
                    <a:pt x="504301" y="520251"/>
                    <a:pt x="501186" y="516162"/>
                  </a:cubicBezTo>
                  <a:cubicBezTo>
                    <a:pt x="496290" y="509630"/>
                    <a:pt x="488680" y="506364"/>
                    <a:pt x="481071" y="506364"/>
                  </a:cubicBezTo>
                  <a:close/>
                  <a:moveTo>
                    <a:pt x="126698" y="506364"/>
                  </a:moveTo>
                  <a:cubicBezTo>
                    <a:pt x="119088" y="506364"/>
                    <a:pt x="111478" y="509630"/>
                    <a:pt x="106628" y="516162"/>
                  </a:cubicBezTo>
                  <a:cubicBezTo>
                    <a:pt x="103424" y="520428"/>
                    <a:pt x="101287" y="525227"/>
                    <a:pt x="101287" y="530826"/>
                  </a:cubicBezTo>
                  <a:cubicBezTo>
                    <a:pt x="101287" y="544690"/>
                    <a:pt x="112591" y="556066"/>
                    <a:pt x="126565" y="556066"/>
                  </a:cubicBezTo>
                  <a:cubicBezTo>
                    <a:pt x="140450" y="556066"/>
                    <a:pt x="151931" y="544779"/>
                    <a:pt x="152020" y="530826"/>
                  </a:cubicBezTo>
                  <a:cubicBezTo>
                    <a:pt x="152020" y="525227"/>
                    <a:pt x="149884" y="520251"/>
                    <a:pt x="146769" y="516162"/>
                  </a:cubicBezTo>
                  <a:cubicBezTo>
                    <a:pt x="141918" y="509630"/>
                    <a:pt x="134308" y="506364"/>
                    <a:pt x="126698" y="506364"/>
                  </a:cubicBezTo>
                  <a:close/>
                  <a:moveTo>
                    <a:pt x="354520" y="328623"/>
                  </a:moveTo>
                  <a:lnTo>
                    <a:pt x="500562" y="328623"/>
                  </a:lnTo>
                  <a:cubicBezTo>
                    <a:pt x="510974" y="342321"/>
                    <a:pt x="522544" y="353885"/>
                    <a:pt x="531710" y="353885"/>
                  </a:cubicBezTo>
                  <a:lnTo>
                    <a:pt x="354520" y="353885"/>
                  </a:lnTo>
                  <a:close/>
                  <a:moveTo>
                    <a:pt x="227926" y="328623"/>
                  </a:moveTo>
                  <a:lnTo>
                    <a:pt x="303925" y="328623"/>
                  </a:lnTo>
                  <a:lnTo>
                    <a:pt x="303925" y="353885"/>
                  </a:lnTo>
                  <a:lnTo>
                    <a:pt x="227926" y="353885"/>
                  </a:lnTo>
                  <a:close/>
                  <a:moveTo>
                    <a:pt x="404971" y="50656"/>
                  </a:moveTo>
                  <a:lnTo>
                    <a:pt x="404971" y="101313"/>
                  </a:lnTo>
                  <a:lnTo>
                    <a:pt x="455704" y="101313"/>
                  </a:lnTo>
                  <a:lnTo>
                    <a:pt x="455704" y="50656"/>
                  </a:lnTo>
                  <a:close/>
                  <a:moveTo>
                    <a:pt x="379694" y="0"/>
                  </a:moveTo>
                  <a:lnTo>
                    <a:pt x="480892" y="0"/>
                  </a:lnTo>
                  <a:lnTo>
                    <a:pt x="531625" y="0"/>
                  </a:lnTo>
                  <a:cubicBezTo>
                    <a:pt x="545599" y="0"/>
                    <a:pt x="556902" y="11553"/>
                    <a:pt x="556902" y="25417"/>
                  </a:cubicBezTo>
                  <a:cubicBezTo>
                    <a:pt x="556902" y="39281"/>
                    <a:pt x="545599" y="50656"/>
                    <a:pt x="531625" y="50656"/>
                  </a:cubicBezTo>
                  <a:lnTo>
                    <a:pt x="506259" y="50656"/>
                  </a:lnTo>
                  <a:lnTo>
                    <a:pt x="506259" y="101046"/>
                  </a:lnTo>
                  <a:lnTo>
                    <a:pt x="531625" y="101046"/>
                  </a:lnTo>
                  <a:cubicBezTo>
                    <a:pt x="545599" y="101046"/>
                    <a:pt x="556902" y="112511"/>
                    <a:pt x="556902" y="126286"/>
                  </a:cubicBezTo>
                  <a:cubicBezTo>
                    <a:pt x="556902" y="140150"/>
                    <a:pt x="545599" y="151525"/>
                    <a:pt x="531625" y="151525"/>
                  </a:cubicBezTo>
                  <a:lnTo>
                    <a:pt x="480892" y="151525"/>
                  </a:lnTo>
                  <a:lnTo>
                    <a:pt x="379694" y="151525"/>
                  </a:lnTo>
                  <a:cubicBezTo>
                    <a:pt x="365720" y="151525"/>
                    <a:pt x="354417" y="140327"/>
                    <a:pt x="354417" y="126286"/>
                  </a:cubicBezTo>
                  <a:lnTo>
                    <a:pt x="354417" y="101046"/>
                  </a:lnTo>
                  <a:lnTo>
                    <a:pt x="101287" y="101046"/>
                  </a:lnTo>
                  <a:cubicBezTo>
                    <a:pt x="87492" y="101046"/>
                    <a:pt x="76010" y="112333"/>
                    <a:pt x="76010" y="126286"/>
                  </a:cubicBezTo>
                  <a:lnTo>
                    <a:pt x="76010" y="176853"/>
                  </a:lnTo>
                  <a:cubicBezTo>
                    <a:pt x="76010" y="252571"/>
                    <a:pt x="114193" y="252571"/>
                    <a:pt x="126743" y="252571"/>
                  </a:cubicBezTo>
                  <a:cubicBezTo>
                    <a:pt x="126743" y="252571"/>
                    <a:pt x="126921" y="252749"/>
                    <a:pt x="127010" y="252749"/>
                  </a:cubicBezTo>
                  <a:lnTo>
                    <a:pt x="133507" y="241640"/>
                  </a:lnTo>
                  <a:cubicBezTo>
                    <a:pt x="148638" y="216934"/>
                    <a:pt x="175517" y="202093"/>
                    <a:pt x="203732" y="202093"/>
                  </a:cubicBezTo>
                  <a:lnTo>
                    <a:pt x="374354" y="202093"/>
                  </a:lnTo>
                  <a:cubicBezTo>
                    <a:pt x="403013" y="202093"/>
                    <a:pt x="429092" y="216667"/>
                    <a:pt x="444134" y="240751"/>
                  </a:cubicBezTo>
                  <a:lnTo>
                    <a:pt x="467275" y="277988"/>
                  </a:lnTo>
                  <a:lnTo>
                    <a:pt x="329228" y="277988"/>
                  </a:lnTo>
                  <a:lnTo>
                    <a:pt x="202664" y="277988"/>
                  </a:lnTo>
                  <a:cubicBezTo>
                    <a:pt x="188601" y="277988"/>
                    <a:pt x="177297" y="289275"/>
                    <a:pt x="177297" y="303228"/>
                  </a:cubicBezTo>
                  <a:lnTo>
                    <a:pt x="177297" y="379124"/>
                  </a:lnTo>
                  <a:cubicBezTo>
                    <a:pt x="177297" y="392987"/>
                    <a:pt x="188601" y="404363"/>
                    <a:pt x="202664" y="404363"/>
                  </a:cubicBezTo>
                  <a:lnTo>
                    <a:pt x="329139" y="404363"/>
                  </a:lnTo>
                  <a:lnTo>
                    <a:pt x="329139" y="404274"/>
                  </a:lnTo>
                  <a:lnTo>
                    <a:pt x="607991" y="404274"/>
                  </a:lnTo>
                  <a:lnTo>
                    <a:pt x="607991" y="480170"/>
                  </a:lnTo>
                  <a:cubicBezTo>
                    <a:pt x="607991" y="508164"/>
                    <a:pt x="585206" y="530826"/>
                    <a:pt x="557347" y="530826"/>
                  </a:cubicBezTo>
                  <a:cubicBezTo>
                    <a:pt x="557347" y="572773"/>
                    <a:pt x="523259" y="606722"/>
                    <a:pt x="481426" y="606722"/>
                  </a:cubicBezTo>
                  <a:cubicBezTo>
                    <a:pt x="439416" y="606722"/>
                    <a:pt x="405416" y="572596"/>
                    <a:pt x="405416" y="530826"/>
                  </a:cubicBezTo>
                  <a:lnTo>
                    <a:pt x="202753" y="530826"/>
                  </a:lnTo>
                  <a:cubicBezTo>
                    <a:pt x="202753" y="572773"/>
                    <a:pt x="168753" y="606722"/>
                    <a:pt x="126743" y="606722"/>
                  </a:cubicBezTo>
                  <a:cubicBezTo>
                    <a:pt x="84733" y="606722"/>
                    <a:pt x="50733" y="572596"/>
                    <a:pt x="50733" y="530826"/>
                  </a:cubicBezTo>
                  <a:cubicBezTo>
                    <a:pt x="22696" y="530826"/>
                    <a:pt x="0" y="508253"/>
                    <a:pt x="0" y="480348"/>
                  </a:cubicBezTo>
                  <a:lnTo>
                    <a:pt x="0" y="404363"/>
                  </a:lnTo>
                  <a:cubicBezTo>
                    <a:pt x="0" y="376546"/>
                    <a:pt x="22696" y="354062"/>
                    <a:pt x="50733" y="353884"/>
                  </a:cubicBezTo>
                  <a:lnTo>
                    <a:pt x="67466" y="353884"/>
                  </a:lnTo>
                  <a:cubicBezTo>
                    <a:pt x="73874" y="345619"/>
                    <a:pt x="87581" y="321091"/>
                    <a:pt x="92476" y="312381"/>
                  </a:cubicBezTo>
                  <a:cubicBezTo>
                    <a:pt x="95413" y="307049"/>
                    <a:pt x="97994" y="302694"/>
                    <a:pt x="99774" y="299851"/>
                  </a:cubicBezTo>
                  <a:cubicBezTo>
                    <a:pt x="52691" y="287942"/>
                    <a:pt x="25188" y="244129"/>
                    <a:pt x="25188" y="176942"/>
                  </a:cubicBezTo>
                  <a:lnTo>
                    <a:pt x="25188" y="126286"/>
                  </a:lnTo>
                  <a:cubicBezTo>
                    <a:pt x="25188" y="84516"/>
                    <a:pt x="59277" y="50568"/>
                    <a:pt x="101198" y="50568"/>
                  </a:cubicBezTo>
                  <a:lnTo>
                    <a:pt x="354417" y="50568"/>
                  </a:lnTo>
                  <a:lnTo>
                    <a:pt x="354417" y="25328"/>
                  </a:lnTo>
                  <a:cubicBezTo>
                    <a:pt x="354417" y="11464"/>
                    <a:pt x="365720" y="0"/>
                    <a:pt x="3796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4" name="Freeform: Shape 33"/>
            <p:cNvSpPr/>
            <p:nvPr/>
          </p:nvSpPr>
          <p:spPr bwMode="auto">
            <a:xfrm>
              <a:off x="5000310" y="2823942"/>
              <a:ext cx="383399" cy="382598"/>
            </a:xfrm>
            <a:custGeom>
              <a:avLst/>
              <a:gdLst>
                <a:gd name="connsiteX0" fmla="*/ 481071 w 607991"/>
                <a:gd name="connsiteY0" fmla="*/ 506364 h 606722"/>
                <a:gd name="connsiteX1" fmla="*/ 460955 w 607991"/>
                <a:gd name="connsiteY1" fmla="*/ 516162 h 606722"/>
                <a:gd name="connsiteX2" fmla="*/ 455704 w 607991"/>
                <a:gd name="connsiteY2" fmla="*/ 530826 h 606722"/>
                <a:gd name="connsiteX3" fmla="*/ 480981 w 607991"/>
                <a:gd name="connsiteY3" fmla="*/ 556066 h 606722"/>
                <a:gd name="connsiteX4" fmla="*/ 506437 w 607991"/>
                <a:gd name="connsiteY4" fmla="*/ 530826 h 606722"/>
                <a:gd name="connsiteX5" fmla="*/ 501186 w 607991"/>
                <a:gd name="connsiteY5" fmla="*/ 516162 h 606722"/>
                <a:gd name="connsiteX6" fmla="*/ 481071 w 607991"/>
                <a:gd name="connsiteY6" fmla="*/ 506364 h 606722"/>
                <a:gd name="connsiteX7" fmla="*/ 126698 w 607991"/>
                <a:gd name="connsiteY7" fmla="*/ 506364 h 606722"/>
                <a:gd name="connsiteX8" fmla="*/ 106628 w 607991"/>
                <a:gd name="connsiteY8" fmla="*/ 516162 h 606722"/>
                <a:gd name="connsiteX9" fmla="*/ 101287 w 607991"/>
                <a:gd name="connsiteY9" fmla="*/ 530826 h 606722"/>
                <a:gd name="connsiteX10" fmla="*/ 126565 w 607991"/>
                <a:gd name="connsiteY10" fmla="*/ 556066 h 606722"/>
                <a:gd name="connsiteX11" fmla="*/ 152020 w 607991"/>
                <a:gd name="connsiteY11" fmla="*/ 530826 h 606722"/>
                <a:gd name="connsiteX12" fmla="*/ 146769 w 607991"/>
                <a:gd name="connsiteY12" fmla="*/ 516162 h 606722"/>
                <a:gd name="connsiteX13" fmla="*/ 126698 w 607991"/>
                <a:gd name="connsiteY13" fmla="*/ 506364 h 606722"/>
                <a:gd name="connsiteX14" fmla="*/ 354520 w 607991"/>
                <a:gd name="connsiteY14" fmla="*/ 328623 h 606722"/>
                <a:gd name="connsiteX15" fmla="*/ 500562 w 607991"/>
                <a:gd name="connsiteY15" fmla="*/ 328623 h 606722"/>
                <a:gd name="connsiteX16" fmla="*/ 531710 w 607991"/>
                <a:gd name="connsiteY16" fmla="*/ 353885 h 606722"/>
                <a:gd name="connsiteX17" fmla="*/ 354520 w 607991"/>
                <a:gd name="connsiteY17" fmla="*/ 353885 h 606722"/>
                <a:gd name="connsiteX18" fmla="*/ 227926 w 607991"/>
                <a:gd name="connsiteY18" fmla="*/ 328623 h 606722"/>
                <a:gd name="connsiteX19" fmla="*/ 303925 w 607991"/>
                <a:gd name="connsiteY19" fmla="*/ 328623 h 606722"/>
                <a:gd name="connsiteX20" fmla="*/ 303925 w 607991"/>
                <a:gd name="connsiteY20" fmla="*/ 353885 h 606722"/>
                <a:gd name="connsiteX21" fmla="*/ 227926 w 607991"/>
                <a:gd name="connsiteY21" fmla="*/ 353885 h 606722"/>
                <a:gd name="connsiteX22" fmla="*/ 404971 w 607991"/>
                <a:gd name="connsiteY22" fmla="*/ 50656 h 606722"/>
                <a:gd name="connsiteX23" fmla="*/ 404971 w 607991"/>
                <a:gd name="connsiteY23" fmla="*/ 101313 h 606722"/>
                <a:gd name="connsiteX24" fmla="*/ 455704 w 607991"/>
                <a:gd name="connsiteY24" fmla="*/ 101313 h 606722"/>
                <a:gd name="connsiteX25" fmla="*/ 455704 w 607991"/>
                <a:gd name="connsiteY25" fmla="*/ 50656 h 606722"/>
                <a:gd name="connsiteX26" fmla="*/ 379694 w 607991"/>
                <a:gd name="connsiteY26" fmla="*/ 0 h 606722"/>
                <a:gd name="connsiteX27" fmla="*/ 480892 w 607991"/>
                <a:gd name="connsiteY27" fmla="*/ 0 h 606722"/>
                <a:gd name="connsiteX28" fmla="*/ 531625 w 607991"/>
                <a:gd name="connsiteY28" fmla="*/ 0 h 606722"/>
                <a:gd name="connsiteX29" fmla="*/ 556902 w 607991"/>
                <a:gd name="connsiteY29" fmla="*/ 25417 h 606722"/>
                <a:gd name="connsiteX30" fmla="*/ 531625 w 607991"/>
                <a:gd name="connsiteY30" fmla="*/ 50656 h 606722"/>
                <a:gd name="connsiteX31" fmla="*/ 506259 w 607991"/>
                <a:gd name="connsiteY31" fmla="*/ 50656 h 606722"/>
                <a:gd name="connsiteX32" fmla="*/ 506259 w 607991"/>
                <a:gd name="connsiteY32" fmla="*/ 101046 h 606722"/>
                <a:gd name="connsiteX33" fmla="*/ 531625 w 607991"/>
                <a:gd name="connsiteY33" fmla="*/ 101046 h 606722"/>
                <a:gd name="connsiteX34" fmla="*/ 556902 w 607991"/>
                <a:gd name="connsiteY34" fmla="*/ 126286 h 606722"/>
                <a:gd name="connsiteX35" fmla="*/ 531625 w 607991"/>
                <a:gd name="connsiteY35" fmla="*/ 151525 h 606722"/>
                <a:gd name="connsiteX36" fmla="*/ 480892 w 607991"/>
                <a:gd name="connsiteY36" fmla="*/ 151525 h 606722"/>
                <a:gd name="connsiteX37" fmla="*/ 379694 w 607991"/>
                <a:gd name="connsiteY37" fmla="*/ 151525 h 606722"/>
                <a:gd name="connsiteX38" fmla="*/ 354417 w 607991"/>
                <a:gd name="connsiteY38" fmla="*/ 126286 h 606722"/>
                <a:gd name="connsiteX39" fmla="*/ 354417 w 607991"/>
                <a:gd name="connsiteY39" fmla="*/ 101046 h 606722"/>
                <a:gd name="connsiteX40" fmla="*/ 101287 w 607991"/>
                <a:gd name="connsiteY40" fmla="*/ 101046 h 606722"/>
                <a:gd name="connsiteX41" fmla="*/ 76010 w 607991"/>
                <a:gd name="connsiteY41" fmla="*/ 126286 h 606722"/>
                <a:gd name="connsiteX42" fmla="*/ 76010 w 607991"/>
                <a:gd name="connsiteY42" fmla="*/ 176853 h 606722"/>
                <a:gd name="connsiteX43" fmla="*/ 126743 w 607991"/>
                <a:gd name="connsiteY43" fmla="*/ 252571 h 606722"/>
                <a:gd name="connsiteX44" fmla="*/ 127010 w 607991"/>
                <a:gd name="connsiteY44" fmla="*/ 252749 h 606722"/>
                <a:gd name="connsiteX45" fmla="*/ 133507 w 607991"/>
                <a:gd name="connsiteY45" fmla="*/ 241640 h 606722"/>
                <a:gd name="connsiteX46" fmla="*/ 203732 w 607991"/>
                <a:gd name="connsiteY46" fmla="*/ 202093 h 606722"/>
                <a:gd name="connsiteX47" fmla="*/ 374354 w 607991"/>
                <a:gd name="connsiteY47" fmla="*/ 202093 h 606722"/>
                <a:gd name="connsiteX48" fmla="*/ 444134 w 607991"/>
                <a:gd name="connsiteY48" fmla="*/ 240751 h 606722"/>
                <a:gd name="connsiteX49" fmla="*/ 467275 w 607991"/>
                <a:gd name="connsiteY49" fmla="*/ 277988 h 606722"/>
                <a:gd name="connsiteX50" fmla="*/ 329228 w 607991"/>
                <a:gd name="connsiteY50" fmla="*/ 277988 h 606722"/>
                <a:gd name="connsiteX51" fmla="*/ 202664 w 607991"/>
                <a:gd name="connsiteY51" fmla="*/ 277988 h 606722"/>
                <a:gd name="connsiteX52" fmla="*/ 177297 w 607991"/>
                <a:gd name="connsiteY52" fmla="*/ 303228 h 606722"/>
                <a:gd name="connsiteX53" fmla="*/ 177297 w 607991"/>
                <a:gd name="connsiteY53" fmla="*/ 379124 h 606722"/>
                <a:gd name="connsiteX54" fmla="*/ 202664 w 607991"/>
                <a:gd name="connsiteY54" fmla="*/ 404363 h 606722"/>
                <a:gd name="connsiteX55" fmla="*/ 329139 w 607991"/>
                <a:gd name="connsiteY55" fmla="*/ 404363 h 606722"/>
                <a:gd name="connsiteX56" fmla="*/ 329139 w 607991"/>
                <a:gd name="connsiteY56" fmla="*/ 404274 h 606722"/>
                <a:gd name="connsiteX57" fmla="*/ 607991 w 607991"/>
                <a:gd name="connsiteY57" fmla="*/ 404274 h 606722"/>
                <a:gd name="connsiteX58" fmla="*/ 607991 w 607991"/>
                <a:gd name="connsiteY58" fmla="*/ 480170 h 606722"/>
                <a:gd name="connsiteX59" fmla="*/ 557347 w 607991"/>
                <a:gd name="connsiteY59" fmla="*/ 530826 h 606722"/>
                <a:gd name="connsiteX60" fmla="*/ 481426 w 607991"/>
                <a:gd name="connsiteY60" fmla="*/ 606722 h 606722"/>
                <a:gd name="connsiteX61" fmla="*/ 405416 w 607991"/>
                <a:gd name="connsiteY61" fmla="*/ 530826 h 606722"/>
                <a:gd name="connsiteX62" fmla="*/ 202753 w 607991"/>
                <a:gd name="connsiteY62" fmla="*/ 530826 h 606722"/>
                <a:gd name="connsiteX63" fmla="*/ 126743 w 607991"/>
                <a:gd name="connsiteY63" fmla="*/ 606722 h 606722"/>
                <a:gd name="connsiteX64" fmla="*/ 50733 w 607991"/>
                <a:gd name="connsiteY64" fmla="*/ 530826 h 606722"/>
                <a:gd name="connsiteX65" fmla="*/ 0 w 607991"/>
                <a:gd name="connsiteY65" fmla="*/ 480348 h 606722"/>
                <a:gd name="connsiteX66" fmla="*/ 0 w 607991"/>
                <a:gd name="connsiteY66" fmla="*/ 404363 h 606722"/>
                <a:gd name="connsiteX67" fmla="*/ 50733 w 607991"/>
                <a:gd name="connsiteY67" fmla="*/ 353884 h 606722"/>
                <a:gd name="connsiteX68" fmla="*/ 67466 w 607991"/>
                <a:gd name="connsiteY68" fmla="*/ 353884 h 606722"/>
                <a:gd name="connsiteX69" fmla="*/ 92476 w 607991"/>
                <a:gd name="connsiteY69" fmla="*/ 312381 h 606722"/>
                <a:gd name="connsiteX70" fmla="*/ 99774 w 607991"/>
                <a:gd name="connsiteY70" fmla="*/ 299851 h 606722"/>
                <a:gd name="connsiteX71" fmla="*/ 25188 w 607991"/>
                <a:gd name="connsiteY71" fmla="*/ 176942 h 606722"/>
                <a:gd name="connsiteX72" fmla="*/ 25188 w 607991"/>
                <a:gd name="connsiteY72" fmla="*/ 126286 h 606722"/>
                <a:gd name="connsiteX73" fmla="*/ 101198 w 607991"/>
                <a:gd name="connsiteY73" fmla="*/ 50568 h 606722"/>
                <a:gd name="connsiteX74" fmla="*/ 354417 w 607991"/>
                <a:gd name="connsiteY74" fmla="*/ 50568 h 606722"/>
                <a:gd name="connsiteX75" fmla="*/ 354417 w 607991"/>
                <a:gd name="connsiteY75" fmla="*/ 25328 h 606722"/>
                <a:gd name="connsiteX76" fmla="*/ 379694 w 607991"/>
                <a:gd name="connsiteY76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07991" h="606722">
                  <a:moveTo>
                    <a:pt x="481071" y="506364"/>
                  </a:moveTo>
                  <a:cubicBezTo>
                    <a:pt x="473461" y="506364"/>
                    <a:pt x="465851" y="509630"/>
                    <a:pt x="460955" y="516162"/>
                  </a:cubicBezTo>
                  <a:cubicBezTo>
                    <a:pt x="457840" y="520428"/>
                    <a:pt x="455704" y="525227"/>
                    <a:pt x="455704" y="530826"/>
                  </a:cubicBezTo>
                  <a:cubicBezTo>
                    <a:pt x="455704" y="544690"/>
                    <a:pt x="467008" y="556066"/>
                    <a:pt x="480981" y="556066"/>
                  </a:cubicBezTo>
                  <a:cubicBezTo>
                    <a:pt x="495044" y="556066"/>
                    <a:pt x="506437" y="544779"/>
                    <a:pt x="506437" y="530826"/>
                  </a:cubicBezTo>
                  <a:cubicBezTo>
                    <a:pt x="506437" y="525227"/>
                    <a:pt x="504301" y="520251"/>
                    <a:pt x="501186" y="516162"/>
                  </a:cubicBezTo>
                  <a:cubicBezTo>
                    <a:pt x="496290" y="509630"/>
                    <a:pt x="488680" y="506364"/>
                    <a:pt x="481071" y="506364"/>
                  </a:cubicBezTo>
                  <a:close/>
                  <a:moveTo>
                    <a:pt x="126698" y="506364"/>
                  </a:moveTo>
                  <a:cubicBezTo>
                    <a:pt x="119088" y="506364"/>
                    <a:pt x="111478" y="509630"/>
                    <a:pt x="106628" y="516162"/>
                  </a:cubicBezTo>
                  <a:cubicBezTo>
                    <a:pt x="103424" y="520428"/>
                    <a:pt x="101287" y="525227"/>
                    <a:pt x="101287" y="530826"/>
                  </a:cubicBezTo>
                  <a:cubicBezTo>
                    <a:pt x="101287" y="544690"/>
                    <a:pt x="112591" y="556066"/>
                    <a:pt x="126565" y="556066"/>
                  </a:cubicBezTo>
                  <a:cubicBezTo>
                    <a:pt x="140450" y="556066"/>
                    <a:pt x="151931" y="544779"/>
                    <a:pt x="152020" y="530826"/>
                  </a:cubicBezTo>
                  <a:cubicBezTo>
                    <a:pt x="152020" y="525227"/>
                    <a:pt x="149884" y="520251"/>
                    <a:pt x="146769" y="516162"/>
                  </a:cubicBezTo>
                  <a:cubicBezTo>
                    <a:pt x="141918" y="509630"/>
                    <a:pt x="134308" y="506364"/>
                    <a:pt x="126698" y="506364"/>
                  </a:cubicBezTo>
                  <a:close/>
                  <a:moveTo>
                    <a:pt x="354520" y="328623"/>
                  </a:moveTo>
                  <a:lnTo>
                    <a:pt x="500562" y="328623"/>
                  </a:lnTo>
                  <a:cubicBezTo>
                    <a:pt x="510974" y="342321"/>
                    <a:pt x="522544" y="353885"/>
                    <a:pt x="531710" y="353885"/>
                  </a:cubicBezTo>
                  <a:lnTo>
                    <a:pt x="354520" y="353885"/>
                  </a:lnTo>
                  <a:close/>
                  <a:moveTo>
                    <a:pt x="227926" y="328623"/>
                  </a:moveTo>
                  <a:lnTo>
                    <a:pt x="303925" y="328623"/>
                  </a:lnTo>
                  <a:lnTo>
                    <a:pt x="303925" y="353885"/>
                  </a:lnTo>
                  <a:lnTo>
                    <a:pt x="227926" y="353885"/>
                  </a:lnTo>
                  <a:close/>
                  <a:moveTo>
                    <a:pt x="404971" y="50656"/>
                  </a:moveTo>
                  <a:lnTo>
                    <a:pt x="404971" y="101313"/>
                  </a:lnTo>
                  <a:lnTo>
                    <a:pt x="455704" y="101313"/>
                  </a:lnTo>
                  <a:lnTo>
                    <a:pt x="455704" y="50656"/>
                  </a:lnTo>
                  <a:close/>
                  <a:moveTo>
                    <a:pt x="379694" y="0"/>
                  </a:moveTo>
                  <a:lnTo>
                    <a:pt x="480892" y="0"/>
                  </a:lnTo>
                  <a:lnTo>
                    <a:pt x="531625" y="0"/>
                  </a:lnTo>
                  <a:cubicBezTo>
                    <a:pt x="545599" y="0"/>
                    <a:pt x="556902" y="11553"/>
                    <a:pt x="556902" y="25417"/>
                  </a:cubicBezTo>
                  <a:cubicBezTo>
                    <a:pt x="556902" y="39281"/>
                    <a:pt x="545599" y="50656"/>
                    <a:pt x="531625" y="50656"/>
                  </a:cubicBezTo>
                  <a:lnTo>
                    <a:pt x="506259" y="50656"/>
                  </a:lnTo>
                  <a:lnTo>
                    <a:pt x="506259" y="101046"/>
                  </a:lnTo>
                  <a:lnTo>
                    <a:pt x="531625" y="101046"/>
                  </a:lnTo>
                  <a:cubicBezTo>
                    <a:pt x="545599" y="101046"/>
                    <a:pt x="556902" y="112511"/>
                    <a:pt x="556902" y="126286"/>
                  </a:cubicBezTo>
                  <a:cubicBezTo>
                    <a:pt x="556902" y="140150"/>
                    <a:pt x="545599" y="151525"/>
                    <a:pt x="531625" y="151525"/>
                  </a:cubicBezTo>
                  <a:lnTo>
                    <a:pt x="480892" y="151525"/>
                  </a:lnTo>
                  <a:lnTo>
                    <a:pt x="379694" y="151525"/>
                  </a:lnTo>
                  <a:cubicBezTo>
                    <a:pt x="365720" y="151525"/>
                    <a:pt x="354417" y="140327"/>
                    <a:pt x="354417" y="126286"/>
                  </a:cubicBezTo>
                  <a:lnTo>
                    <a:pt x="354417" y="101046"/>
                  </a:lnTo>
                  <a:lnTo>
                    <a:pt x="101287" y="101046"/>
                  </a:lnTo>
                  <a:cubicBezTo>
                    <a:pt x="87492" y="101046"/>
                    <a:pt x="76010" y="112333"/>
                    <a:pt x="76010" y="126286"/>
                  </a:cubicBezTo>
                  <a:lnTo>
                    <a:pt x="76010" y="176853"/>
                  </a:lnTo>
                  <a:cubicBezTo>
                    <a:pt x="76010" y="252571"/>
                    <a:pt x="114193" y="252571"/>
                    <a:pt x="126743" y="252571"/>
                  </a:cubicBezTo>
                  <a:cubicBezTo>
                    <a:pt x="126743" y="252571"/>
                    <a:pt x="126921" y="252749"/>
                    <a:pt x="127010" y="252749"/>
                  </a:cubicBezTo>
                  <a:lnTo>
                    <a:pt x="133507" y="241640"/>
                  </a:lnTo>
                  <a:cubicBezTo>
                    <a:pt x="148638" y="216934"/>
                    <a:pt x="175517" y="202093"/>
                    <a:pt x="203732" y="202093"/>
                  </a:cubicBezTo>
                  <a:lnTo>
                    <a:pt x="374354" y="202093"/>
                  </a:lnTo>
                  <a:cubicBezTo>
                    <a:pt x="403013" y="202093"/>
                    <a:pt x="429092" y="216667"/>
                    <a:pt x="444134" y="240751"/>
                  </a:cubicBezTo>
                  <a:lnTo>
                    <a:pt x="467275" y="277988"/>
                  </a:lnTo>
                  <a:lnTo>
                    <a:pt x="329228" y="277988"/>
                  </a:lnTo>
                  <a:lnTo>
                    <a:pt x="202664" y="277988"/>
                  </a:lnTo>
                  <a:cubicBezTo>
                    <a:pt x="188601" y="277988"/>
                    <a:pt x="177297" y="289275"/>
                    <a:pt x="177297" y="303228"/>
                  </a:cubicBezTo>
                  <a:lnTo>
                    <a:pt x="177297" y="379124"/>
                  </a:lnTo>
                  <a:cubicBezTo>
                    <a:pt x="177297" y="392987"/>
                    <a:pt x="188601" y="404363"/>
                    <a:pt x="202664" y="404363"/>
                  </a:cubicBezTo>
                  <a:lnTo>
                    <a:pt x="329139" y="404363"/>
                  </a:lnTo>
                  <a:lnTo>
                    <a:pt x="329139" y="404274"/>
                  </a:lnTo>
                  <a:lnTo>
                    <a:pt x="607991" y="404274"/>
                  </a:lnTo>
                  <a:lnTo>
                    <a:pt x="607991" y="480170"/>
                  </a:lnTo>
                  <a:cubicBezTo>
                    <a:pt x="607991" y="508164"/>
                    <a:pt x="585206" y="530826"/>
                    <a:pt x="557347" y="530826"/>
                  </a:cubicBezTo>
                  <a:cubicBezTo>
                    <a:pt x="557347" y="572773"/>
                    <a:pt x="523259" y="606722"/>
                    <a:pt x="481426" y="606722"/>
                  </a:cubicBezTo>
                  <a:cubicBezTo>
                    <a:pt x="439416" y="606722"/>
                    <a:pt x="405416" y="572596"/>
                    <a:pt x="405416" y="530826"/>
                  </a:cubicBezTo>
                  <a:lnTo>
                    <a:pt x="202753" y="530826"/>
                  </a:lnTo>
                  <a:cubicBezTo>
                    <a:pt x="202753" y="572773"/>
                    <a:pt x="168753" y="606722"/>
                    <a:pt x="126743" y="606722"/>
                  </a:cubicBezTo>
                  <a:cubicBezTo>
                    <a:pt x="84733" y="606722"/>
                    <a:pt x="50733" y="572596"/>
                    <a:pt x="50733" y="530826"/>
                  </a:cubicBezTo>
                  <a:cubicBezTo>
                    <a:pt x="22696" y="530826"/>
                    <a:pt x="0" y="508253"/>
                    <a:pt x="0" y="480348"/>
                  </a:cubicBezTo>
                  <a:lnTo>
                    <a:pt x="0" y="404363"/>
                  </a:lnTo>
                  <a:cubicBezTo>
                    <a:pt x="0" y="376546"/>
                    <a:pt x="22696" y="354062"/>
                    <a:pt x="50733" y="353884"/>
                  </a:cubicBezTo>
                  <a:lnTo>
                    <a:pt x="67466" y="353884"/>
                  </a:lnTo>
                  <a:cubicBezTo>
                    <a:pt x="73874" y="345619"/>
                    <a:pt x="87581" y="321091"/>
                    <a:pt x="92476" y="312381"/>
                  </a:cubicBezTo>
                  <a:cubicBezTo>
                    <a:pt x="95413" y="307049"/>
                    <a:pt x="97994" y="302694"/>
                    <a:pt x="99774" y="299851"/>
                  </a:cubicBezTo>
                  <a:cubicBezTo>
                    <a:pt x="52691" y="287942"/>
                    <a:pt x="25188" y="244129"/>
                    <a:pt x="25188" y="176942"/>
                  </a:cubicBezTo>
                  <a:lnTo>
                    <a:pt x="25188" y="126286"/>
                  </a:lnTo>
                  <a:cubicBezTo>
                    <a:pt x="25188" y="84516"/>
                    <a:pt x="59277" y="50568"/>
                    <a:pt x="101198" y="50568"/>
                  </a:cubicBezTo>
                  <a:lnTo>
                    <a:pt x="354417" y="50568"/>
                  </a:lnTo>
                  <a:lnTo>
                    <a:pt x="354417" y="25328"/>
                  </a:lnTo>
                  <a:cubicBezTo>
                    <a:pt x="354417" y="11464"/>
                    <a:pt x="365720" y="0"/>
                    <a:pt x="37969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5" name="Freeform: Shape 34"/>
            <p:cNvSpPr/>
            <p:nvPr/>
          </p:nvSpPr>
          <p:spPr bwMode="auto">
            <a:xfrm>
              <a:off x="6802938" y="2823942"/>
              <a:ext cx="383399" cy="382598"/>
            </a:xfrm>
            <a:custGeom>
              <a:avLst/>
              <a:gdLst>
                <a:gd name="connsiteX0" fmla="*/ 481071 w 607991"/>
                <a:gd name="connsiteY0" fmla="*/ 506364 h 606722"/>
                <a:gd name="connsiteX1" fmla="*/ 460955 w 607991"/>
                <a:gd name="connsiteY1" fmla="*/ 516162 h 606722"/>
                <a:gd name="connsiteX2" fmla="*/ 455704 w 607991"/>
                <a:gd name="connsiteY2" fmla="*/ 530826 h 606722"/>
                <a:gd name="connsiteX3" fmla="*/ 480981 w 607991"/>
                <a:gd name="connsiteY3" fmla="*/ 556066 h 606722"/>
                <a:gd name="connsiteX4" fmla="*/ 506437 w 607991"/>
                <a:gd name="connsiteY4" fmla="*/ 530826 h 606722"/>
                <a:gd name="connsiteX5" fmla="*/ 501186 w 607991"/>
                <a:gd name="connsiteY5" fmla="*/ 516162 h 606722"/>
                <a:gd name="connsiteX6" fmla="*/ 481071 w 607991"/>
                <a:gd name="connsiteY6" fmla="*/ 506364 h 606722"/>
                <a:gd name="connsiteX7" fmla="*/ 126698 w 607991"/>
                <a:gd name="connsiteY7" fmla="*/ 506364 h 606722"/>
                <a:gd name="connsiteX8" fmla="*/ 106628 w 607991"/>
                <a:gd name="connsiteY8" fmla="*/ 516162 h 606722"/>
                <a:gd name="connsiteX9" fmla="*/ 101287 w 607991"/>
                <a:gd name="connsiteY9" fmla="*/ 530826 h 606722"/>
                <a:gd name="connsiteX10" fmla="*/ 126565 w 607991"/>
                <a:gd name="connsiteY10" fmla="*/ 556066 h 606722"/>
                <a:gd name="connsiteX11" fmla="*/ 152020 w 607991"/>
                <a:gd name="connsiteY11" fmla="*/ 530826 h 606722"/>
                <a:gd name="connsiteX12" fmla="*/ 146769 w 607991"/>
                <a:gd name="connsiteY12" fmla="*/ 516162 h 606722"/>
                <a:gd name="connsiteX13" fmla="*/ 126698 w 607991"/>
                <a:gd name="connsiteY13" fmla="*/ 506364 h 606722"/>
                <a:gd name="connsiteX14" fmla="*/ 354520 w 607991"/>
                <a:gd name="connsiteY14" fmla="*/ 328623 h 606722"/>
                <a:gd name="connsiteX15" fmla="*/ 500562 w 607991"/>
                <a:gd name="connsiteY15" fmla="*/ 328623 h 606722"/>
                <a:gd name="connsiteX16" fmla="*/ 531710 w 607991"/>
                <a:gd name="connsiteY16" fmla="*/ 353885 h 606722"/>
                <a:gd name="connsiteX17" fmla="*/ 354520 w 607991"/>
                <a:gd name="connsiteY17" fmla="*/ 353885 h 606722"/>
                <a:gd name="connsiteX18" fmla="*/ 227926 w 607991"/>
                <a:gd name="connsiteY18" fmla="*/ 328623 h 606722"/>
                <a:gd name="connsiteX19" fmla="*/ 303925 w 607991"/>
                <a:gd name="connsiteY19" fmla="*/ 328623 h 606722"/>
                <a:gd name="connsiteX20" fmla="*/ 303925 w 607991"/>
                <a:gd name="connsiteY20" fmla="*/ 353885 h 606722"/>
                <a:gd name="connsiteX21" fmla="*/ 227926 w 607991"/>
                <a:gd name="connsiteY21" fmla="*/ 353885 h 606722"/>
                <a:gd name="connsiteX22" fmla="*/ 404971 w 607991"/>
                <a:gd name="connsiteY22" fmla="*/ 50656 h 606722"/>
                <a:gd name="connsiteX23" fmla="*/ 404971 w 607991"/>
                <a:gd name="connsiteY23" fmla="*/ 101313 h 606722"/>
                <a:gd name="connsiteX24" fmla="*/ 455704 w 607991"/>
                <a:gd name="connsiteY24" fmla="*/ 101313 h 606722"/>
                <a:gd name="connsiteX25" fmla="*/ 455704 w 607991"/>
                <a:gd name="connsiteY25" fmla="*/ 50656 h 606722"/>
                <a:gd name="connsiteX26" fmla="*/ 379694 w 607991"/>
                <a:gd name="connsiteY26" fmla="*/ 0 h 606722"/>
                <a:gd name="connsiteX27" fmla="*/ 480892 w 607991"/>
                <a:gd name="connsiteY27" fmla="*/ 0 h 606722"/>
                <a:gd name="connsiteX28" fmla="*/ 531625 w 607991"/>
                <a:gd name="connsiteY28" fmla="*/ 0 h 606722"/>
                <a:gd name="connsiteX29" fmla="*/ 556902 w 607991"/>
                <a:gd name="connsiteY29" fmla="*/ 25417 h 606722"/>
                <a:gd name="connsiteX30" fmla="*/ 531625 w 607991"/>
                <a:gd name="connsiteY30" fmla="*/ 50656 h 606722"/>
                <a:gd name="connsiteX31" fmla="*/ 506259 w 607991"/>
                <a:gd name="connsiteY31" fmla="*/ 50656 h 606722"/>
                <a:gd name="connsiteX32" fmla="*/ 506259 w 607991"/>
                <a:gd name="connsiteY32" fmla="*/ 101046 h 606722"/>
                <a:gd name="connsiteX33" fmla="*/ 531625 w 607991"/>
                <a:gd name="connsiteY33" fmla="*/ 101046 h 606722"/>
                <a:gd name="connsiteX34" fmla="*/ 556902 w 607991"/>
                <a:gd name="connsiteY34" fmla="*/ 126286 h 606722"/>
                <a:gd name="connsiteX35" fmla="*/ 531625 w 607991"/>
                <a:gd name="connsiteY35" fmla="*/ 151525 h 606722"/>
                <a:gd name="connsiteX36" fmla="*/ 480892 w 607991"/>
                <a:gd name="connsiteY36" fmla="*/ 151525 h 606722"/>
                <a:gd name="connsiteX37" fmla="*/ 379694 w 607991"/>
                <a:gd name="connsiteY37" fmla="*/ 151525 h 606722"/>
                <a:gd name="connsiteX38" fmla="*/ 354417 w 607991"/>
                <a:gd name="connsiteY38" fmla="*/ 126286 h 606722"/>
                <a:gd name="connsiteX39" fmla="*/ 354417 w 607991"/>
                <a:gd name="connsiteY39" fmla="*/ 101046 h 606722"/>
                <a:gd name="connsiteX40" fmla="*/ 101287 w 607991"/>
                <a:gd name="connsiteY40" fmla="*/ 101046 h 606722"/>
                <a:gd name="connsiteX41" fmla="*/ 76010 w 607991"/>
                <a:gd name="connsiteY41" fmla="*/ 126286 h 606722"/>
                <a:gd name="connsiteX42" fmla="*/ 76010 w 607991"/>
                <a:gd name="connsiteY42" fmla="*/ 176853 h 606722"/>
                <a:gd name="connsiteX43" fmla="*/ 126743 w 607991"/>
                <a:gd name="connsiteY43" fmla="*/ 252571 h 606722"/>
                <a:gd name="connsiteX44" fmla="*/ 127010 w 607991"/>
                <a:gd name="connsiteY44" fmla="*/ 252749 h 606722"/>
                <a:gd name="connsiteX45" fmla="*/ 133507 w 607991"/>
                <a:gd name="connsiteY45" fmla="*/ 241640 h 606722"/>
                <a:gd name="connsiteX46" fmla="*/ 203732 w 607991"/>
                <a:gd name="connsiteY46" fmla="*/ 202093 h 606722"/>
                <a:gd name="connsiteX47" fmla="*/ 374354 w 607991"/>
                <a:gd name="connsiteY47" fmla="*/ 202093 h 606722"/>
                <a:gd name="connsiteX48" fmla="*/ 444134 w 607991"/>
                <a:gd name="connsiteY48" fmla="*/ 240751 h 606722"/>
                <a:gd name="connsiteX49" fmla="*/ 467275 w 607991"/>
                <a:gd name="connsiteY49" fmla="*/ 277988 h 606722"/>
                <a:gd name="connsiteX50" fmla="*/ 329228 w 607991"/>
                <a:gd name="connsiteY50" fmla="*/ 277988 h 606722"/>
                <a:gd name="connsiteX51" fmla="*/ 202664 w 607991"/>
                <a:gd name="connsiteY51" fmla="*/ 277988 h 606722"/>
                <a:gd name="connsiteX52" fmla="*/ 177297 w 607991"/>
                <a:gd name="connsiteY52" fmla="*/ 303228 h 606722"/>
                <a:gd name="connsiteX53" fmla="*/ 177297 w 607991"/>
                <a:gd name="connsiteY53" fmla="*/ 379124 h 606722"/>
                <a:gd name="connsiteX54" fmla="*/ 202664 w 607991"/>
                <a:gd name="connsiteY54" fmla="*/ 404363 h 606722"/>
                <a:gd name="connsiteX55" fmla="*/ 329139 w 607991"/>
                <a:gd name="connsiteY55" fmla="*/ 404363 h 606722"/>
                <a:gd name="connsiteX56" fmla="*/ 329139 w 607991"/>
                <a:gd name="connsiteY56" fmla="*/ 404274 h 606722"/>
                <a:gd name="connsiteX57" fmla="*/ 607991 w 607991"/>
                <a:gd name="connsiteY57" fmla="*/ 404274 h 606722"/>
                <a:gd name="connsiteX58" fmla="*/ 607991 w 607991"/>
                <a:gd name="connsiteY58" fmla="*/ 480170 h 606722"/>
                <a:gd name="connsiteX59" fmla="*/ 557347 w 607991"/>
                <a:gd name="connsiteY59" fmla="*/ 530826 h 606722"/>
                <a:gd name="connsiteX60" fmla="*/ 481426 w 607991"/>
                <a:gd name="connsiteY60" fmla="*/ 606722 h 606722"/>
                <a:gd name="connsiteX61" fmla="*/ 405416 w 607991"/>
                <a:gd name="connsiteY61" fmla="*/ 530826 h 606722"/>
                <a:gd name="connsiteX62" fmla="*/ 202753 w 607991"/>
                <a:gd name="connsiteY62" fmla="*/ 530826 h 606722"/>
                <a:gd name="connsiteX63" fmla="*/ 126743 w 607991"/>
                <a:gd name="connsiteY63" fmla="*/ 606722 h 606722"/>
                <a:gd name="connsiteX64" fmla="*/ 50733 w 607991"/>
                <a:gd name="connsiteY64" fmla="*/ 530826 h 606722"/>
                <a:gd name="connsiteX65" fmla="*/ 0 w 607991"/>
                <a:gd name="connsiteY65" fmla="*/ 480348 h 606722"/>
                <a:gd name="connsiteX66" fmla="*/ 0 w 607991"/>
                <a:gd name="connsiteY66" fmla="*/ 404363 h 606722"/>
                <a:gd name="connsiteX67" fmla="*/ 50733 w 607991"/>
                <a:gd name="connsiteY67" fmla="*/ 353884 h 606722"/>
                <a:gd name="connsiteX68" fmla="*/ 67466 w 607991"/>
                <a:gd name="connsiteY68" fmla="*/ 353884 h 606722"/>
                <a:gd name="connsiteX69" fmla="*/ 92476 w 607991"/>
                <a:gd name="connsiteY69" fmla="*/ 312381 h 606722"/>
                <a:gd name="connsiteX70" fmla="*/ 99774 w 607991"/>
                <a:gd name="connsiteY70" fmla="*/ 299851 h 606722"/>
                <a:gd name="connsiteX71" fmla="*/ 25188 w 607991"/>
                <a:gd name="connsiteY71" fmla="*/ 176942 h 606722"/>
                <a:gd name="connsiteX72" fmla="*/ 25188 w 607991"/>
                <a:gd name="connsiteY72" fmla="*/ 126286 h 606722"/>
                <a:gd name="connsiteX73" fmla="*/ 101198 w 607991"/>
                <a:gd name="connsiteY73" fmla="*/ 50568 h 606722"/>
                <a:gd name="connsiteX74" fmla="*/ 354417 w 607991"/>
                <a:gd name="connsiteY74" fmla="*/ 50568 h 606722"/>
                <a:gd name="connsiteX75" fmla="*/ 354417 w 607991"/>
                <a:gd name="connsiteY75" fmla="*/ 25328 h 606722"/>
                <a:gd name="connsiteX76" fmla="*/ 379694 w 607991"/>
                <a:gd name="connsiteY76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07991" h="606722">
                  <a:moveTo>
                    <a:pt x="481071" y="506364"/>
                  </a:moveTo>
                  <a:cubicBezTo>
                    <a:pt x="473461" y="506364"/>
                    <a:pt x="465851" y="509630"/>
                    <a:pt x="460955" y="516162"/>
                  </a:cubicBezTo>
                  <a:cubicBezTo>
                    <a:pt x="457840" y="520428"/>
                    <a:pt x="455704" y="525227"/>
                    <a:pt x="455704" y="530826"/>
                  </a:cubicBezTo>
                  <a:cubicBezTo>
                    <a:pt x="455704" y="544690"/>
                    <a:pt x="467008" y="556066"/>
                    <a:pt x="480981" y="556066"/>
                  </a:cubicBezTo>
                  <a:cubicBezTo>
                    <a:pt x="495044" y="556066"/>
                    <a:pt x="506437" y="544779"/>
                    <a:pt x="506437" y="530826"/>
                  </a:cubicBezTo>
                  <a:cubicBezTo>
                    <a:pt x="506437" y="525227"/>
                    <a:pt x="504301" y="520251"/>
                    <a:pt x="501186" y="516162"/>
                  </a:cubicBezTo>
                  <a:cubicBezTo>
                    <a:pt x="496290" y="509630"/>
                    <a:pt x="488680" y="506364"/>
                    <a:pt x="481071" y="506364"/>
                  </a:cubicBezTo>
                  <a:close/>
                  <a:moveTo>
                    <a:pt x="126698" y="506364"/>
                  </a:moveTo>
                  <a:cubicBezTo>
                    <a:pt x="119088" y="506364"/>
                    <a:pt x="111478" y="509630"/>
                    <a:pt x="106628" y="516162"/>
                  </a:cubicBezTo>
                  <a:cubicBezTo>
                    <a:pt x="103424" y="520428"/>
                    <a:pt x="101287" y="525227"/>
                    <a:pt x="101287" y="530826"/>
                  </a:cubicBezTo>
                  <a:cubicBezTo>
                    <a:pt x="101287" y="544690"/>
                    <a:pt x="112591" y="556066"/>
                    <a:pt x="126565" y="556066"/>
                  </a:cubicBezTo>
                  <a:cubicBezTo>
                    <a:pt x="140450" y="556066"/>
                    <a:pt x="151931" y="544779"/>
                    <a:pt x="152020" y="530826"/>
                  </a:cubicBezTo>
                  <a:cubicBezTo>
                    <a:pt x="152020" y="525227"/>
                    <a:pt x="149884" y="520251"/>
                    <a:pt x="146769" y="516162"/>
                  </a:cubicBezTo>
                  <a:cubicBezTo>
                    <a:pt x="141918" y="509630"/>
                    <a:pt x="134308" y="506364"/>
                    <a:pt x="126698" y="506364"/>
                  </a:cubicBezTo>
                  <a:close/>
                  <a:moveTo>
                    <a:pt x="354520" y="328623"/>
                  </a:moveTo>
                  <a:lnTo>
                    <a:pt x="500562" y="328623"/>
                  </a:lnTo>
                  <a:cubicBezTo>
                    <a:pt x="510974" y="342321"/>
                    <a:pt x="522544" y="353885"/>
                    <a:pt x="531710" y="353885"/>
                  </a:cubicBezTo>
                  <a:lnTo>
                    <a:pt x="354520" y="353885"/>
                  </a:lnTo>
                  <a:close/>
                  <a:moveTo>
                    <a:pt x="227926" y="328623"/>
                  </a:moveTo>
                  <a:lnTo>
                    <a:pt x="303925" y="328623"/>
                  </a:lnTo>
                  <a:lnTo>
                    <a:pt x="303925" y="353885"/>
                  </a:lnTo>
                  <a:lnTo>
                    <a:pt x="227926" y="353885"/>
                  </a:lnTo>
                  <a:close/>
                  <a:moveTo>
                    <a:pt x="404971" y="50656"/>
                  </a:moveTo>
                  <a:lnTo>
                    <a:pt x="404971" y="101313"/>
                  </a:lnTo>
                  <a:lnTo>
                    <a:pt x="455704" y="101313"/>
                  </a:lnTo>
                  <a:lnTo>
                    <a:pt x="455704" y="50656"/>
                  </a:lnTo>
                  <a:close/>
                  <a:moveTo>
                    <a:pt x="379694" y="0"/>
                  </a:moveTo>
                  <a:lnTo>
                    <a:pt x="480892" y="0"/>
                  </a:lnTo>
                  <a:lnTo>
                    <a:pt x="531625" y="0"/>
                  </a:lnTo>
                  <a:cubicBezTo>
                    <a:pt x="545599" y="0"/>
                    <a:pt x="556902" y="11553"/>
                    <a:pt x="556902" y="25417"/>
                  </a:cubicBezTo>
                  <a:cubicBezTo>
                    <a:pt x="556902" y="39281"/>
                    <a:pt x="545599" y="50656"/>
                    <a:pt x="531625" y="50656"/>
                  </a:cubicBezTo>
                  <a:lnTo>
                    <a:pt x="506259" y="50656"/>
                  </a:lnTo>
                  <a:lnTo>
                    <a:pt x="506259" y="101046"/>
                  </a:lnTo>
                  <a:lnTo>
                    <a:pt x="531625" y="101046"/>
                  </a:lnTo>
                  <a:cubicBezTo>
                    <a:pt x="545599" y="101046"/>
                    <a:pt x="556902" y="112511"/>
                    <a:pt x="556902" y="126286"/>
                  </a:cubicBezTo>
                  <a:cubicBezTo>
                    <a:pt x="556902" y="140150"/>
                    <a:pt x="545599" y="151525"/>
                    <a:pt x="531625" y="151525"/>
                  </a:cubicBezTo>
                  <a:lnTo>
                    <a:pt x="480892" y="151525"/>
                  </a:lnTo>
                  <a:lnTo>
                    <a:pt x="379694" y="151525"/>
                  </a:lnTo>
                  <a:cubicBezTo>
                    <a:pt x="365720" y="151525"/>
                    <a:pt x="354417" y="140327"/>
                    <a:pt x="354417" y="126286"/>
                  </a:cubicBezTo>
                  <a:lnTo>
                    <a:pt x="354417" y="101046"/>
                  </a:lnTo>
                  <a:lnTo>
                    <a:pt x="101287" y="101046"/>
                  </a:lnTo>
                  <a:cubicBezTo>
                    <a:pt x="87492" y="101046"/>
                    <a:pt x="76010" y="112333"/>
                    <a:pt x="76010" y="126286"/>
                  </a:cubicBezTo>
                  <a:lnTo>
                    <a:pt x="76010" y="176853"/>
                  </a:lnTo>
                  <a:cubicBezTo>
                    <a:pt x="76010" y="252571"/>
                    <a:pt x="114193" y="252571"/>
                    <a:pt x="126743" y="252571"/>
                  </a:cubicBezTo>
                  <a:cubicBezTo>
                    <a:pt x="126743" y="252571"/>
                    <a:pt x="126921" y="252749"/>
                    <a:pt x="127010" y="252749"/>
                  </a:cubicBezTo>
                  <a:lnTo>
                    <a:pt x="133507" y="241640"/>
                  </a:lnTo>
                  <a:cubicBezTo>
                    <a:pt x="148638" y="216934"/>
                    <a:pt x="175517" y="202093"/>
                    <a:pt x="203732" y="202093"/>
                  </a:cubicBezTo>
                  <a:lnTo>
                    <a:pt x="374354" y="202093"/>
                  </a:lnTo>
                  <a:cubicBezTo>
                    <a:pt x="403013" y="202093"/>
                    <a:pt x="429092" y="216667"/>
                    <a:pt x="444134" y="240751"/>
                  </a:cubicBezTo>
                  <a:lnTo>
                    <a:pt x="467275" y="277988"/>
                  </a:lnTo>
                  <a:lnTo>
                    <a:pt x="329228" y="277988"/>
                  </a:lnTo>
                  <a:lnTo>
                    <a:pt x="202664" y="277988"/>
                  </a:lnTo>
                  <a:cubicBezTo>
                    <a:pt x="188601" y="277988"/>
                    <a:pt x="177297" y="289275"/>
                    <a:pt x="177297" y="303228"/>
                  </a:cubicBezTo>
                  <a:lnTo>
                    <a:pt x="177297" y="379124"/>
                  </a:lnTo>
                  <a:cubicBezTo>
                    <a:pt x="177297" y="392987"/>
                    <a:pt x="188601" y="404363"/>
                    <a:pt x="202664" y="404363"/>
                  </a:cubicBezTo>
                  <a:lnTo>
                    <a:pt x="329139" y="404363"/>
                  </a:lnTo>
                  <a:lnTo>
                    <a:pt x="329139" y="404274"/>
                  </a:lnTo>
                  <a:lnTo>
                    <a:pt x="607991" y="404274"/>
                  </a:lnTo>
                  <a:lnTo>
                    <a:pt x="607991" y="480170"/>
                  </a:lnTo>
                  <a:cubicBezTo>
                    <a:pt x="607991" y="508164"/>
                    <a:pt x="585206" y="530826"/>
                    <a:pt x="557347" y="530826"/>
                  </a:cubicBezTo>
                  <a:cubicBezTo>
                    <a:pt x="557347" y="572773"/>
                    <a:pt x="523259" y="606722"/>
                    <a:pt x="481426" y="606722"/>
                  </a:cubicBezTo>
                  <a:cubicBezTo>
                    <a:pt x="439416" y="606722"/>
                    <a:pt x="405416" y="572596"/>
                    <a:pt x="405416" y="530826"/>
                  </a:cubicBezTo>
                  <a:lnTo>
                    <a:pt x="202753" y="530826"/>
                  </a:lnTo>
                  <a:cubicBezTo>
                    <a:pt x="202753" y="572773"/>
                    <a:pt x="168753" y="606722"/>
                    <a:pt x="126743" y="606722"/>
                  </a:cubicBezTo>
                  <a:cubicBezTo>
                    <a:pt x="84733" y="606722"/>
                    <a:pt x="50733" y="572596"/>
                    <a:pt x="50733" y="530826"/>
                  </a:cubicBezTo>
                  <a:cubicBezTo>
                    <a:pt x="22696" y="530826"/>
                    <a:pt x="0" y="508253"/>
                    <a:pt x="0" y="480348"/>
                  </a:cubicBezTo>
                  <a:lnTo>
                    <a:pt x="0" y="404363"/>
                  </a:lnTo>
                  <a:cubicBezTo>
                    <a:pt x="0" y="376546"/>
                    <a:pt x="22696" y="354062"/>
                    <a:pt x="50733" y="353884"/>
                  </a:cubicBezTo>
                  <a:lnTo>
                    <a:pt x="67466" y="353884"/>
                  </a:lnTo>
                  <a:cubicBezTo>
                    <a:pt x="73874" y="345619"/>
                    <a:pt x="87581" y="321091"/>
                    <a:pt x="92476" y="312381"/>
                  </a:cubicBezTo>
                  <a:cubicBezTo>
                    <a:pt x="95413" y="307049"/>
                    <a:pt x="97994" y="302694"/>
                    <a:pt x="99774" y="299851"/>
                  </a:cubicBezTo>
                  <a:cubicBezTo>
                    <a:pt x="52691" y="287942"/>
                    <a:pt x="25188" y="244129"/>
                    <a:pt x="25188" y="176942"/>
                  </a:cubicBezTo>
                  <a:lnTo>
                    <a:pt x="25188" y="126286"/>
                  </a:lnTo>
                  <a:cubicBezTo>
                    <a:pt x="25188" y="84516"/>
                    <a:pt x="59277" y="50568"/>
                    <a:pt x="101198" y="50568"/>
                  </a:cubicBezTo>
                  <a:lnTo>
                    <a:pt x="354417" y="50568"/>
                  </a:lnTo>
                  <a:lnTo>
                    <a:pt x="354417" y="25328"/>
                  </a:lnTo>
                  <a:cubicBezTo>
                    <a:pt x="354417" y="11464"/>
                    <a:pt x="365720" y="0"/>
                    <a:pt x="3796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6" name="Freeform: Shape 35"/>
            <p:cNvSpPr/>
            <p:nvPr/>
          </p:nvSpPr>
          <p:spPr bwMode="auto">
            <a:xfrm>
              <a:off x="8605566" y="2823942"/>
              <a:ext cx="383399" cy="382598"/>
            </a:xfrm>
            <a:custGeom>
              <a:avLst/>
              <a:gdLst>
                <a:gd name="connsiteX0" fmla="*/ 481071 w 607991"/>
                <a:gd name="connsiteY0" fmla="*/ 506364 h 606722"/>
                <a:gd name="connsiteX1" fmla="*/ 460955 w 607991"/>
                <a:gd name="connsiteY1" fmla="*/ 516162 h 606722"/>
                <a:gd name="connsiteX2" fmla="*/ 455704 w 607991"/>
                <a:gd name="connsiteY2" fmla="*/ 530826 h 606722"/>
                <a:gd name="connsiteX3" fmla="*/ 480981 w 607991"/>
                <a:gd name="connsiteY3" fmla="*/ 556066 h 606722"/>
                <a:gd name="connsiteX4" fmla="*/ 506437 w 607991"/>
                <a:gd name="connsiteY4" fmla="*/ 530826 h 606722"/>
                <a:gd name="connsiteX5" fmla="*/ 501186 w 607991"/>
                <a:gd name="connsiteY5" fmla="*/ 516162 h 606722"/>
                <a:gd name="connsiteX6" fmla="*/ 481071 w 607991"/>
                <a:gd name="connsiteY6" fmla="*/ 506364 h 606722"/>
                <a:gd name="connsiteX7" fmla="*/ 126698 w 607991"/>
                <a:gd name="connsiteY7" fmla="*/ 506364 h 606722"/>
                <a:gd name="connsiteX8" fmla="*/ 106628 w 607991"/>
                <a:gd name="connsiteY8" fmla="*/ 516162 h 606722"/>
                <a:gd name="connsiteX9" fmla="*/ 101287 w 607991"/>
                <a:gd name="connsiteY9" fmla="*/ 530826 h 606722"/>
                <a:gd name="connsiteX10" fmla="*/ 126565 w 607991"/>
                <a:gd name="connsiteY10" fmla="*/ 556066 h 606722"/>
                <a:gd name="connsiteX11" fmla="*/ 152020 w 607991"/>
                <a:gd name="connsiteY11" fmla="*/ 530826 h 606722"/>
                <a:gd name="connsiteX12" fmla="*/ 146769 w 607991"/>
                <a:gd name="connsiteY12" fmla="*/ 516162 h 606722"/>
                <a:gd name="connsiteX13" fmla="*/ 126698 w 607991"/>
                <a:gd name="connsiteY13" fmla="*/ 506364 h 606722"/>
                <a:gd name="connsiteX14" fmla="*/ 354520 w 607991"/>
                <a:gd name="connsiteY14" fmla="*/ 328623 h 606722"/>
                <a:gd name="connsiteX15" fmla="*/ 500562 w 607991"/>
                <a:gd name="connsiteY15" fmla="*/ 328623 h 606722"/>
                <a:gd name="connsiteX16" fmla="*/ 531710 w 607991"/>
                <a:gd name="connsiteY16" fmla="*/ 353885 h 606722"/>
                <a:gd name="connsiteX17" fmla="*/ 354520 w 607991"/>
                <a:gd name="connsiteY17" fmla="*/ 353885 h 606722"/>
                <a:gd name="connsiteX18" fmla="*/ 227926 w 607991"/>
                <a:gd name="connsiteY18" fmla="*/ 328623 h 606722"/>
                <a:gd name="connsiteX19" fmla="*/ 303925 w 607991"/>
                <a:gd name="connsiteY19" fmla="*/ 328623 h 606722"/>
                <a:gd name="connsiteX20" fmla="*/ 303925 w 607991"/>
                <a:gd name="connsiteY20" fmla="*/ 353885 h 606722"/>
                <a:gd name="connsiteX21" fmla="*/ 227926 w 607991"/>
                <a:gd name="connsiteY21" fmla="*/ 353885 h 606722"/>
                <a:gd name="connsiteX22" fmla="*/ 404971 w 607991"/>
                <a:gd name="connsiteY22" fmla="*/ 50656 h 606722"/>
                <a:gd name="connsiteX23" fmla="*/ 404971 w 607991"/>
                <a:gd name="connsiteY23" fmla="*/ 101313 h 606722"/>
                <a:gd name="connsiteX24" fmla="*/ 455704 w 607991"/>
                <a:gd name="connsiteY24" fmla="*/ 101313 h 606722"/>
                <a:gd name="connsiteX25" fmla="*/ 455704 w 607991"/>
                <a:gd name="connsiteY25" fmla="*/ 50656 h 606722"/>
                <a:gd name="connsiteX26" fmla="*/ 379694 w 607991"/>
                <a:gd name="connsiteY26" fmla="*/ 0 h 606722"/>
                <a:gd name="connsiteX27" fmla="*/ 480892 w 607991"/>
                <a:gd name="connsiteY27" fmla="*/ 0 h 606722"/>
                <a:gd name="connsiteX28" fmla="*/ 531625 w 607991"/>
                <a:gd name="connsiteY28" fmla="*/ 0 h 606722"/>
                <a:gd name="connsiteX29" fmla="*/ 556902 w 607991"/>
                <a:gd name="connsiteY29" fmla="*/ 25417 h 606722"/>
                <a:gd name="connsiteX30" fmla="*/ 531625 w 607991"/>
                <a:gd name="connsiteY30" fmla="*/ 50656 h 606722"/>
                <a:gd name="connsiteX31" fmla="*/ 506259 w 607991"/>
                <a:gd name="connsiteY31" fmla="*/ 50656 h 606722"/>
                <a:gd name="connsiteX32" fmla="*/ 506259 w 607991"/>
                <a:gd name="connsiteY32" fmla="*/ 101046 h 606722"/>
                <a:gd name="connsiteX33" fmla="*/ 531625 w 607991"/>
                <a:gd name="connsiteY33" fmla="*/ 101046 h 606722"/>
                <a:gd name="connsiteX34" fmla="*/ 556902 w 607991"/>
                <a:gd name="connsiteY34" fmla="*/ 126286 h 606722"/>
                <a:gd name="connsiteX35" fmla="*/ 531625 w 607991"/>
                <a:gd name="connsiteY35" fmla="*/ 151525 h 606722"/>
                <a:gd name="connsiteX36" fmla="*/ 480892 w 607991"/>
                <a:gd name="connsiteY36" fmla="*/ 151525 h 606722"/>
                <a:gd name="connsiteX37" fmla="*/ 379694 w 607991"/>
                <a:gd name="connsiteY37" fmla="*/ 151525 h 606722"/>
                <a:gd name="connsiteX38" fmla="*/ 354417 w 607991"/>
                <a:gd name="connsiteY38" fmla="*/ 126286 h 606722"/>
                <a:gd name="connsiteX39" fmla="*/ 354417 w 607991"/>
                <a:gd name="connsiteY39" fmla="*/ 101046 h 606722"/>
                <a:gd name="connsiteX40" fmla="*/ 101287 w 607991"/>
                <a:gd name="connsiteY40" fmla="*/ 101046 h 606722"/>
                <a:gd name="connsiteX41" fmla="*/ 76010 w 607991"/>
                <a:gd name="connsiteY41" fmla="*/ 126286 h 606722"/>
                <a:gd name="connsiteX42" fmla="*/ 76010 w 607991"/>
                <a:gd name="connsiteY42" fmla="*/ 176853 h 606722"/>
                <a:gd name="connsiteX43" fmla="*/ 126743 w 607991"/>
                <a:gd name="connsiteY43" fmla="*/ 252571 h 606722"/>
                <a:gd name="connsiteX44" fmla="*/ 127010 w 607991"/>
                <a:gd name="connsiteY44" fmla="*/ 252749 h 606722"/>
                <a:gd name="connsiteX45" fmla="*/ 133507 w 607991"/>
                <a:gd name="connsiteY45" fmla="*/ 241640 h 606722"/>
                <a:gd name="connsiteX46" fmla="*/ 203732 w 607991"/>
                <a:gd name="connsiteY46" fmla="*/ 202093 h 606722"/>
                <a:gd name="connsiteX47" fmla="*/ 374354 w 607991"/>
                <a:gd name="connsiteY47" fmla="*/ 202093 h 606722"/>
                <a:gd name="connsiteX48" fmla="*/ 444134 w 607991"/>
                <a:gd name="connsiteY48" fmla="*/ 240751 h 606722"/>
                <a:gd name="connsiteX49" fmla="*/ 467275 w 607991"/>
                <a:gd name="connsiteY49" fmla="*/ 277988 h 606722"/>
                <a:gd name="connsiteX50" fmla="*/ 329228 w 607991"/>
                <a:gd name="connsiteY50" fmla="*/ 277988 h 606722"/>
                <a:gd name="connsiteX51" fmla="*/ 202664 w 607991"/>
                <a:gd name="connsiteY51" fmla="*/ 277988 h 606722"/>
                <a:gd name="connsiteX52" fmla="*/ 177297 w 607991"/>
                <a:gd name="connsiteY52" fmla="*/ 303228 h 606722"/>
                <a:gd name="connsiteX53" fmla="*/ 177297 w 607991"/>
                <a:gd name="connsiteY53" fmla="*/ 379124 h 606722"/>
                <a:gd name="connsiteX54" fmla="*/ 202664 w 607991"/>
                <a:gd name="connsiteY54" fmla="*/ 404363 h 606722"/>
                <a:gd name="connsiteX55" fmla="*/ 329139 w 607991"/>
                <a:gd name="connsiteY55" fmla="*/ 404363 h 606722"/>
                <a:gd name="connsiteX56" fmla="*/ 329139 w 607991"/>
                <a:gd name="connsiteY56" fmla="*/ 404274 h 606722"/>
                <a:gd name="connsiteX57" fmla="*/ 607991 w 607991"/>
                <a:gd name="connsiteY57" fmla="*/ 404274 h 606722"/>
                <a:gd name="connsiteX58" fmla="*/ 607991 w 607991"/>
                <a:gd name="connsiteY58" fmla="*/ 480170 h 606722"/>
                <a:gd name="connsiteX59" fmla="*/ 557347 w 607991"/>
                <a:gd name="connsiteY59" fmla="*/ 530826 h 606722"/>
                <a:gd name="connsiteX60" fmla="*/ 481426 w 607991"/>
                <a:gd name="connsiteY60" fmla="*/ 606722 h 606722"/>
                <a:gd name="connsiteX61" fmla="*/ 405416 w 607991"/>
                <a:gd name="connsiteY61" fmla="*/ 530826 h 606722"/>
                <a:gd name="connsiteX62" fmla="*/ 202753 w 607991"/>
                <a:gd name="connsiteY62" fmla="*/ 530826 h 606722"/>
                <a:gd name="connsiteX63" fmla="*/ 126743 w 607991"/>
                <a:gd name="connsiteY63" fmla="*/ 606722 h 606722"/>
                <a:gd name="connsiteX64" fmla="*/ 50733 w 607991"/>
                <a:gd name="connsiteY64" fmla="*/ 530826 h 606722"/>
                <a:gd name="connsiteX65" fmla="*/ 0 w 607991"/>
                <a:gd name="connsiteY65" fmla="*/ 480348 h 606722"/>
                <a:gd name="connsiteX66" fmla="*/ 0 w 607991"/>
                <a:gd name="connsiteY66" fmla="*/ 404363 h 606722"/>
                <a:gd name="connsiteX67" fmla="*/ 50733 w 607991"/>
                <a:gd name="connsiteY67" fmla="*/ 353884 h 606722"/>
                <a:gd name="connsiteX68" fmla="*/ 67466 w 607991"/>
                <a:gd name="connsiteY68" fmla="*/ 353884 h 606722"/>
                <a:gd name="connsiteX69" fmla="*/ 92476 w 607991"/>
                <a:gd name="connsiteY69" fmla="*/ 312381 h 606722"/>
                <a:gd name="connsiteX70" fmla="*/ 99774 w 607991"/>
                <a:gd name="connsiteY70" fmla="*/ 299851 h 606722"/>
                <a:gd name="connsiteX71" fmla="*/ 25188 w 607991"/>
                <a:gd name="connsiteY71" fmla="*/ 176942 h 606722"/>
                <a:gd name="connsiteX72" fmla="*/ 25188 w 607991"/>
                <a:gd name="connsiteY72" fmla="*/ 126286 h 606722"/>
                <a:gd name="connsiteX73" fmla="*/ 101198 w 607991"/>
                <a:gd name="connsiteY73" fmla="*/ 50568 h 606722"/>
                <a:gd name="connsiteX74" fmla="*/ 354417 w 607991"/>
                <a:gd name="connsiteY74" fmla="*/ 50568 h 606722"/>
                <a:gd name="connsiteX75" fmla="*/ 354417 w 607991"/>
                <a:gd name="connsiteY75" fmla="*/ 25328 h 606722"/>
                <a:gd name="connsiteX76" fmla="*/ 379694 w 607991"/>
                <a:gd name="connsiteY76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07991" h="606722">
                  <a:moveTo>
                    <a:pt x="481071" y="506364"/>
                  </a:moveTo>
                  <a:cubicBezTo>
                    <a:pt x="473461" y="506364"/>
                    <a:pt x="465851" y="509630"/>
                    <a:pt x="460955" y="516162"/>
                  </a:cubicBezTo>
                  <a:cubicBezTo>
                    <a:pt x="457840" y="520428"/>
                    <a:pt x="455704" y="525227"/>
                    <a:pt x="455704" y="530826"/>
                  </a:cubicBezTo>
                  <a:cubicBezTo>
                    <a:pt x="455704" y="544690"/>
                    <a:pt x="467008" y="556066"/>
                    <a:pt x="480981" y="556066"/>
                  </a:cubicBezTo>
                  <a:cubicBezTo>
                    <a:pt x="495044" y="556066"/>
                    <a:pt x="506437" y="544779"/>
                    <a:pt x="506437" y="530826"/>
                  </a:cubicBezTo>
                  <a:cubicBezTo>
                    <a:pt x="506437" y="525227"/>
                    <a:pt x="504301" y="520251"/>
                    <a:pt x="501186" y="516162"/>
                  </a:cubicBezTo>
                  <a:cubicBezTo>
                    <a:pt x="496290" y="509630"/>
                    <a:pt x="488680" y="506364"/>
                    <a:pt x="481071" y="506364"/>
                  </a:cubicBezTo>
                  <a:close/>
                  <a:moveTo>
                    <a:pt x="126698" y="506364"/>
                  </a:moveTo>
                  <a:cubicBezTo>
                    <a:pt x="119088" y="506364"/>
                    <a:pt x="111478" y="509630"/>
                    <a:pt x="106628" y="516162"/>
                  </a:cubicBezTo>
                  <a:cubicBezTo>
                    <a:pt x="103424" y="520428"/>
                    <a:pt x="101287" y="525227"/>
                    <a:pt x="101287" y="530826"/>
                  </a:cubicBezTo>
                  <a:cubicBezTo>
                    <a:pt x="101287" y="544690"/>
                    <a:pt x="112591" y="556066"/>
                    <a:pt x="126565" y="556066"/>
                  </a:cubicBezTo>
                  <a:cubicBezTo>
                    <a:pt x="140450" y="556066"/>
                    <a:pt x="151931" y="544779"/>
                    <a:pt x="152020" y="530826"/>
                  </a:cubicBezTo>
                  <a:cubicBezTo>
                    <a:pt x="152020" y="525227"/>
                    <a:pt x="149884" y="520251"/>
                    <a:pt x="146769" y="516162"/>
                  </a:cubicBezTo>
                  <a:cubicBezTo>
                    <a:pt x="141918" y="509630"/>
                    <a:pt x="134308" y="506364"/>
                    <a:pt x="126698" y="506364"/>
                  </a:cubicBezTo>
                  <a:close/>
                  <a:moveTo>
                    <a:pt x="354520" y="328623"/>
                  </a:moveTo>
                  <a:lnTo>
                    <a:pt x="500562" y="328623"/>
                  </a:lnTo>
                  <a:cubicBezTo>
                    <a:pt x="510974" y="342321"/>
                    <a:pt x="522544" y="353885"/>
                    <a:pt x="531710" y="353885"/>
                  </a:cubicBezTo>
                  <a:lnTo>
                    <a:pt x="354520" y="353885"/>
                  </a:lnTo>
                  <a:close/>
                  <a:moveTo>
                    <a:pt x="227926" y="328623"/>
                  </a:moveTo>
                  <a:lnTo>
                    <a:pt x="303925" y="328623"/>
                  </a:lnTo>
                  <a:lnTo>
                    <a:pt x="303925" y="353885"/>
                  </a:lnTo>
                  <a:lnTo>
                    <a:pt x="227926" y="353885"/>
                  </a:lnTo>
                  <a:close/>
                  <a:moveTo>
                    <a:pt x="404971" y="50656"/>
                  </a:moveTo>
                  <a:lnTo>
                    <a:pt x="404971" y="101313"/>
                  </a:lnTo>
                  <a:lnTo>
                    <a:pt x="455704" y="101313"/>
                  </a:lnTo>
                  <a:lnTo>
                    <a:pt x="455704" y="50656"/>
                  </a:lnTo>
                  <a:close/>
                  <a:moveTo>
                    <a:pt x="379694" y="0"/>
                  </a:moveTo>
                  <a:lnTo>
                    <a:pt x="480892" y="0"/>
                  </a:lnTo>
                  <a:lnTo>
                    <a:pt x="531625" y="0"/>
                  </a:lnTo>
                  <a:cubicBezTo>
                    <a:pt x="545599" y="0"/>
                    <a:pt x="556902" y="11553"/>
                    <a:pt x="556902" y="25417"/>
                  </a:cubicBezTo>
                  <a:cubicBezTo>
                    <a:pt x="556902" y="39281"/>
                    <a:pt x="545599" y="50656"/>
                    <a:pt x="531625" y="50656"/>
                  </a:cubicBezTo>
                  <a:lnTo>
                    <a:pt x="506259" y="50656"/>
                  </a:lnTo>
                  <a:lnTo>
                    <a:pt x="506259" y="101046"/>
                  </a:lnTo>
                  <a:lnTo>
                    <a:pt x="531625" y="101046"/>
                  </a:lnTo>
                  <a:cubicBezTo>
                    <a:pt x="545599" y="101046"/>
                    <a:pt x="556902" y="112511"/>
                    <a:pt x="556902" y="126286"/>
                  </a:cubicBezTo>
                  <a:cubicBezTo>
                    <a:pt x="556902" y="140150"/>
                    <a:pt x="545599" y="151525"/>
                    <a:pt x="531625" y="151525"/>
                  </a:cubicBezTo>
                  <a:lnTo>
                    <a:pt x="480892" y="151525"/>
                  </a:lnTo>
                  <a:lnTo>
                    <a:pt x="379694" y="151525"/>
                  </a:lnTo>
                  <a:cubicBezTo>
                    <a:pt x="365720" y="151525"/>
                    <a:pt x="354417" y="140327"/>
                    <a:pt x="354417" y="126286"/>
                  </a:cubicBezTo>
                  <a:lnTo>
                    <a:pt x="354417" y="101046"/>
                  </a:lnTo>
                  <a:lnTo>
                    <a:pt x="101287" y="101046"/>
                  </a:lnTo>
                  <a:cubicBezTo>
                    <a:pt x="87492" y="101046"/>
                    <a:pt x="76010" y="112333"/>
                    <a:pt x="76010" y="126286"/>
                  </a:cubicBezTo>
                  <a:lnTo>
                    <a:pt x="76010" y="176853"/>
                  </a:lnTo>
                  <a:cubicBezTo>
                    <a:pt x="76010" y="252571"/>
                    <a:pt x="114193" y="252571"/>
                    <a:pt x="126743" y="252571"/>
                  </a:cubicBezTo>
                  <a:cubicBezTo>
                    <a:pt x="126743" y="252571"/>
                    <a:pt x="126921" y="252749"/>
                    <a:pt x="127010" y="252749"/>
                  </a:cubicBezTo>
                  <a:lnTo>
                    <a:pt x="133507" y="241640"/>
                  </a:lnTo>
                  <a:cubicBezTo>
                    <a:pt x="148638" y="216934"/>
                    <a:pt x="175517" y="202093"/>
                    <a:pt x="203732" y="202093"/>
                  </a:cubicBezTo>
                  <a:lnTo>
                    <a:pt x="374354" y="202093"/>
                  </a:lnTo>
                  <a:cubicBezTo>
                    <a:pt x="403013" y="202093"/>
                    <a:pt x="429092" y="216667"/>
                    <a:pt x="444134" y="240751"/>
                  </a:cubicBezTo>
                  <a:lnTo>
                    <a:pt x="467275" y="277988"/>
                  </a:lnTo>
                  <a:lnTo>
                    <a:pt x="329228" y="277988"/>
                  </a:lnTo>
                  <a:lnTo>
                    <a:pt x="202664" y="277988"/>
                  </a:lnTo>
                  <a:cubicBezTo>
                    <a:pt x="188601" y="277988"/>
                    <a:pt x="177297" y="289275"/>
                    <a:pt x="177297" y="303228"/>
                  </a:cubicBezTo>
                  <a:lnTo>
                    <a:pt x="177297" y="379124"/>
                  </a:lnTo>
                  <a:cubicBezTo>
                    <a:pt x="177297" y="392987"/>
                    <a:pt x="188601" y="404363"/>
                    <a:pt x="202664" y="404363"/>
                  </a:cubicBezTo>
                  <a:lnTo>
                    <a:pt x="329139" y="404363"/>
                  </a:lnTo>
                  <a:lnTo>
                    <a:pt x="329139" y="404274"/>
                  </a:lnTo>
                  <a:lnTo>
                    <a:pt x="607991" y="404274"/>
                  </a:lnTo>
                  <a:lnTo>
                    <a:pt x="607991" y="480170"/>
                  </a:lnTo>
                  <a:cubicBezTo>
                    <a:pt x="607991" y="508164"/>
                    <a:pt x="585206" y="530826"/>
                    <a:pt x="557347" y="530826"/>
                  </a:cubicBezTo>
                  <a:cubicBezTo>
                    <a:pt x="557347" y="572773"/>
                    <a:pt x="523259" y="606722"/>
                    <a:pt x="481426" y="606722"/>
                  </a:cubicBezTo>
                  <a:cubicBezTo>
                    <a:pt x="439416" y="606722"/>
                    <a:pt x="405416" y="572596"/>
                    <a:pt x="405416" y="530826"/>
                  </a:cubicBezTo>
                  <a:lnTo>
                    <a:pt x="202753" y="530826"/>
                  </a:lnTo>
                  <a:cubicBezTo>
                    <a:pt x="202753" y="572773"/>
                    <a:pt x="168753" y="606722"/>
                    <a:pt x="126743" y="606722"/>
                  </a:cubicBezTo>
                  <a:cubicBezTo>
                    <a:pt x="84733" y="606722"/>
                    <a:pt x="50733" y="572596"/>
                    <a:pt x="50733" y="530826"/>
                  </a:cubicBezTo>
                  <a:cubicBezTo>
                    <a:pt x="22696" y="530826"/>
                    <a:pt x="0" y="508253"/>
                    <a:pt x="0" y="480348"/>
                  </a:cubicBezTo>
                  <a:lnTo>
                    <a:pt x="0" y="404363"/>
                  </a:lnTo>
                  <a:cubicBezTo>
                    <a:pt x="0" y="376546"/>
                    <a:pt x="22696" y="354062"/>
                    <a:pt x="50733" y="353884"/>
                  </a:cubicBezTo>
                  <a:lnTo>
                    <a:pt x="67466" y="353884"/>
                  </a:lnTo>
                  <a:cubicBezTo>
                    <a:pt x="73874" y="345619"/>
                    <a:pt x="87581" y="321091"/>
                    <a:pt x="92476" y="312381"/>
                  </a:cubicBezTo>
                  <a:cubicBezTo>
                    <a:pt x="95413" y="307049"/>
                    <a:pt x="97994" y="302694"/>
                    <a:pt x="99774" y="299851"/>
                  </a:cubicBezTo>
                  <a:cubicBezTo>
                    <a:pt x="52691" y="287942"/>
                    <a:pt x="25188" y="244129"/>
                    <a:pt x="25188" y="176942"/>
                  </a:cubicBezTo>
                  <a:lnTo>
                    <a:pt x="25188" y="126286"/>
                  </a:lnTo>
                  <a:cubicBezTo>
                    <a:pt x="25188" y="84516"/>
                    <a:pt x="59277" y="50568"/>
                    <a:pt x="101198" y="50568"/>
                  </a:cubicBezTo>
                  <a:lnTo>
                    <a:pt x="354417" y="50568"/>
                  </a:lnTo>
                  <a:lnTo>
                    <a:pt x="354417" y="25328"/>
                  </a:lnTo>
                  <a:cubicBezTo>
                    <a:pt x="354417" y="11464"/>
                    <a:pt x="365720" y="0"/>
                    <a:pt x="37969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7" name="Freeform: Shape 36"/>
            <p:cNvSpPr/>
            <p:nvPr/>
          </p:nvSpPr>
          <p:spPr bwMode="auto">
            <a:xfrm>
              <a:off x="10408194" y="2823942"/>
              <a:ext cx="383399" cy="382598"/>
            </a:xfrm>
            <a:custGeom>
              <a:avLst/>
              <a:gdLst>
                <a:gd name="connsiteX0" fmla="*/ 481071 w 607991"/>
                <a:gd name="connsiteY0" fmla="*/ 506364 h 606722"/>
                <a:gd name="connsiteX1" fmla="*/ 460955 w 607991"/>
                <a:gd name="connsiteY1" fmla="*/ 516162 h 606722"/>
                <a:gd name="connsiteX2" fmla="*/ 455704 w 607991"/>
                <a:gd name="connsiteY2" fmla="*/ 530826 h 606722"/>
                <a:gd name="connsiteX3" fmla="*/ 480981 w 607991"/>
                <a:gd name="connsiteY3" fmla="*/ 556066 h 606722"/>
                <a:gd name="connsiteX4" fmla="*/ 506437 w 607991"/>
                <a:gd name="connsiteY4" fmla="*/ 530826 h 606722"/>
                <a:gd name="connsiteX5" fmla="*/ 501186 w 607991"/>
                <a:gd name="connsiteY5" fmla="*/ 516162 h 606722"/>
                <a:gd name="connsiteX6" fmla="*/ 481071 w 607991"/>
                <a:gd name="connsiteY6" fmla="*/ 506364 h 606722"/>
                <a:gd name="connsiteX7" fmla="*/ 126698 w 607991"/>
                <a:gd name="connsiteY7" fmla="*/ 506364 h 606722"/>
                <a:gd name="connsiteX8" fmla="*/ 106628 w 607991"/>
                <a:gd name="connsiteY8" fmla="*/ 516162 h 606722"/>
                <a:gd name="connsiteX9" fmla="*/ 101287 w 607991"/>
                <a:gd name="connsiteY9" fmla="*/ 530826 h 606722"/>
                <a:gd name="connsiteX10" fmla="*/ 126565 w 607991"/>
                <a:gd name="connsiteY10" fmla="*/ 556066 h 606722"/>
                <a:gd name="connsiteX11" fmla="*/ 152020 w 607991"/>
                <a:gd name="connsiteY11" fmla="*/ 530826 h 606722"/>
                <a:gd name="connsiteX12" fmla="*/ 146769 w 607991"/>
                <a:gd name="connsiteY12" fmla="*/ 516162 h 606722"/>
                <a:gd name="connsiteX13" fmla="*/ 126698 w 607991"/>
                <a:gd name="connsiteY13" fmla="*/ 506364 h 606722"/>
                <a:gd name="connsiteX14" fmla="*/ 354520 w 607991"/>
                <a:gd name="connsiteY14" fmla="*/ 328623 h 606722"/>
                <a:gd name="connsiteX15" fmla="*/ 500562 w 607991"/>
                <a:gd name="connsiteY15" fmla="*/ 328623 h 606722"/>
                <a:gd name="connsiteX16" fmla="*/ 531710 w 607991"/>
                <a:gd name="connsiteY16" fmla="*/ 353885 h 606722"/>
                <a:gd name="connsiteX17" fmla="*/ 354520 w 607991"/>
                <a:gd name="connsiteY17" fmla="*/ 353885 h 606722"/>
                <a:gd name="connsiteX18" fmla="*/ 227926 w 607991"/>
                <a:gd name="connsiteY18" fmla="*/ 328623 h 606722"/>
                <a:gd name="connsiteX19" fmla="*/ 303925 w 607991"/>
                <a:gd name="connsiteY19" fmla="*/ 328623 h 606722"/>
                <a:gd name="connsiteX20" fmla="*/ 303925 w 607991"/>
                <a:gd name="connsiteY20" fmla="*/ 353885 h 606722"/>
                <a:gd name="connsiteX21" fmla="*/ 227926 w 607991"/>
                <a:gd name="connsiteY21" fmla="*/ 353885 h 606722"/>
                <a:gd name="connsiteX22" fmla="*/ 404971 w 607991"/>
                <a:gd name="connsiteY22" fmla="*/ 50656 h 606722"/>
                <a:gd name="connsiteX23" fmla="*/ 404971 w 607991"/>
                <a:gd name="connsiteY23" fmla="*/ 101313 h 606722"/>
                <a:gd name="connsiteX24" fmla="*/ 455704 w 607991"/>
                <a:gd name="connsiteY24" fmla="*/ 101313 h 606722"/>
                <a:gd name="connsiteX25" fmla="*/ 455704 w 607991"/>
                <a:gd name="connsiteY25" fmla="*/ 50656 h 606722"/>
                <a:gd name="connsiteX26" fmla="*/ 379694 w 607991"/>
                <a:gd name="connsiteY26" fmla="*/ 0 h 606722"/>
                <a:gd name="connsiteX27" fmla="*/ 480892 w 607991"/>
                <a:gd name="connsiteY27" fmla="*/ 0 h 606722"/>
                <a:gd name="connsiteX28" fmla="*/ 531625 w 607991"/>
                <a:gd name="connsiteY28" fmla="*/ 0 h 606722"/>
                <a:gd name="connsiteX29" fmla="*/ 556902 w 607991"/>
                <a:gd name="connsiteY29" fmla="*/ 25417 h 606722"/>
                <a:gd name="connsiteX30" fmla="*/ 531625 w 607991"/>
                <a:gd name="connsiteY30" fmla="*/ 50656 h 606722"/>
                <a:gd name="connsiteX31" fmla="*/ 506259 w 607991"/>
                <a:gd name="connsiteY31" fmla="*/ 50656 h 606722"/>
                <a:gd name="connsiteX32" fmla="*/ 506259 w 607991"/>
                <a:gd name="connsiteY32" fmla="*/ 101046 h 606722"/>
                <a:gd name="connsiteX33" fmla="*/ 531625 w 607991"/>
                <a:gd name="connsiteY33" fmla="*/ 101046 h 606722"/>
                <a:gd name="connsiteX34" fmla="*/ 556902 w 607991"/>
                <a:gd name="connsiteY34" fmla="*/ 126286 h 606722"/>
                <a:gd name="connsiteX35" fmla="*/ 531625 w 607991"/>
                <a:gd name="connsiteY35" fmla="*/ 151525 h 606722"/>
                <a:gd name="connsiteX36" fmla="*/ 480892 w 607991"/>
                <a:gd name="connsiteY36" fmla="*/ 151525 h 606722"/>
                <a:gd name="connsiteX37" fmla="*/ 379694 w 607991"/>
                <a:gd name="connsiteY37" fmla="*/ 151525 h 606722"/>
                <a:gd name="connsiteX38" fmla="*/ 354417 w 607991"/>
                <a:gd name="connsiteY38" fmla="*/ 126286 h 606722"/>
                <a:gd name="connsiteX39" fmla="*/ 354417 w 607991"/>
                <a:gd name="connsiteY39" fmla="*/ 101046 h 606722"/>
                <a:gd name="connsiteX40" fmla="*/ 101287 w 607991"/>
                <a:gd name="connsiteY40" fmla="*/ 101046 h 606722"/>
                <a:gd name="connsiteX41" fmla="*/ 76010 w 607991"/>
                <a:gd name="connsiteY41" fmla="*/ 126286 h 606722"/>
                <a:gd name="connsiteX42" fmla="*/ 76010 w 607991"/>
                <a:gd name="connsiteY42" fmla="*/ 176853 h 606722"/>
                <a:gd name="connsiteX43" fmla="*/ 126743 w 607991"/>
                <a:gd name="connsiteY43" fmla="*/ 252571 h 606722"/>
                <a:gd name="connsiteX44" fmla="*/ 127010 w 607991"/>
                <a:gd name="connsiteY44" fmla="*/ 252749 h 606722"/>
                <a:gd name="connsiteX45" fmla="*/ 133507 w 607991"/>
                <a:gd name="connsiteY45" fmla="*/ 241640 h 606722"/>
                <a:gd name="connsiteX46" fmla="*/ 203732 w 607991"/>
                <a:gd name="connsiteY46" fmla="*/ 202093 h 606722"/>
                <a:gd name="connsiteX47" fmla="*/ 374354 w 607991"/>
                <a:gd name="connsiteY47" fmla="*/ 202093 h 606722"/>
                <a:gd name="connsiteX48" fmla="*/ 444134 w 607991"/>
                <a:gd name="connsiteY48" fmla="*/ 240751 h 606722"/>
                <a:gd name="connsiteX49" fmla="*/ 467275 w 607991"/>
                <a:gd name="connsiteY49" fmla="*/ 277988 h 606722"/>
                <a:gd name="connsiteX50" fmla="*/ 329228 w 607991"/>
                <a:gd name="connsiteY50" fmla="*/ 277988 h 606722"/>
                <a:gd name="connsiteX51" fmla="*/ 202664 w 607991"/>
                <a:gd name="connsiteY51" fmla="*/ 277988 h 606722"/>
                <a:gd name="connsiteX52" fmla="*/ 177297 w 607991"/>
                <a:gd name="connsiteY52" fmla="*/ 303228 h 606722"/>
                <a:gd name="connsiteX53" fmla="*/ 177297 w 607991"/>
                <a:gd name="connsiteY53" fmla="*/ 379124 h 606722"/>
                <a:gd name="connsiteX54" fmla="*/ 202664 w 607991"/>
                <a:gd name="connsiteY54" fmla="*/ 404363 h 606722"/>
                <a:gd name="connsiteX55" fmla="*/ 329139 w 607991"/>
                <a:gd name="connsiteY55" fmla="*/ 404363 h 606722"/>
                <a:gd name="connsiteX56" fmla="*/ 329139 w 607991"/>
                <a:gd name="connsiteY56" fmla="*/ 404274 h 606722"/>
                <a:gd name="connsiteX57" fmla="*/ 607991 w 607991"/>
                <a:gd name="connsiteY57" fmla="*/ 404274 h 606722"/>
                <a:gd name="connsiteX58" fmla="*/ 607991 w 607991"/>
                <a:gd name="connsiteY58" fmla="*/ 480170 h 606722"/>
                <a:gd name="connsiteX59" fmla="*/ 557347 w 607991"/>
                <a:gd name="connsiteY59" fmla="*/ 530826 h 606722"/>
                <a:gd name="connsiteX60" fmla="*/ 481426 w 607991"/>
                <a:gd name="connsiteY60" fmla="*/ 606722 h 606722"/>
                <a:gd name="connsiteX61" fmla="*/ 405416 w 607991"/>
                <a:gd name="connsiteY61" fmla="*/ 530826 h 606722"/>
                <a:gd name="connsiteX62" fmla="*/ 202753 w 607991"/>
                <a:gd name="connsiteY62" fmla="*/ 530826 h 606722"/>
                <a:gd name="connsiteX63" fmla="*/ 126743 w 607991"/>
                <a:gd name="connsiteY63" fmla="*/ 606722 h 606722"/>
                <a:gd name="connsiteX64" fmla="*/ 50733 w 607991"/>
                <a:gd name="connsiteY64" fmla="*/ 530826 h 606722"/>
                <a:gd name="connsiteX65" fmla="*/ 0 w 607991"/>
                <a:gd name="connsiteY65" fmla="*/ 480348 h 606722"/>
                <a:gd name="connsiteX66" fmla="*/ 0 w 607991"/>
                <a:gd name="connsiteY66" fmla="*/ 404363 h 606722"/>
                <a:gd name="connsiteX67" fmla="*/ 50733 w 607991"/>
                <a:gd name="connsiteY67" fmla="*/ 353884 h 606722"/>
                <a:gd name="connsiteX68" fmla="*/ 67466 w 607991"/>
                <a:gd name="connsiteY68" fmla="*/ 353884 h 606722"/>
                <a:gd name="connsiteX69" fmla="*/ 92476 w 607991"/>
                <a:gd name="connsiteY69" fmla="*/ 312381 h 606722"/>
                <a:gd name="connsiteX70" fmla="*/ 99774 w 607991"/>
                <a:gd name="connsiteY70" fmla="*/ 299851 h 606722"/>
                <a:gd name="connsiteX71" fmla="*/ 25188 w 607991"/>
                <a:gd name="connsiteY71" fmla="*/ 176942 h 606722"/>
                <a:gd name="connsiteX72" fmla="*/ 25188 w 607991"/>
                <a:gd name="connsiteY72" fmla="*/ 126286 h 606722"/>
                <a:gd name="connsiteX73" fmla="*/ 101198 w 607991"/>
                <a:gd name="connsiteY73" fmla="*/ 50568 h 606722"/>
                <a:gd name="connsiteX74" fmla="*/ 354417 w 607991"/>
                <a:gd name="connsiteY74" fmla="*/ 50568 h 606722"/>
                <a:gd name="connsiteX75" fmla="*/ 354417 w 607991"/>
                <a:gd name="connsiteY75" fmla="*/ 25328 h 606722"/>
                <a:gd name="connsiteX76" fmla="*/ 379694 w 607991"/>
                <a:gd name="connsiteY76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07991" h="606722">
                  <a:moveTo>
                    <a:pt x="481071" y="506364"/>
                  </a:moveTo>
                  <a:cubicBezTo>
                    <a:pt x="473461" y="506364"/>
                    <a:pt x="465851" y="509630"/>
                    <a:pt x="460955" y="516162"/>
                  </a:cubicBezTo>
                  <a:cubicBezTo>
                    <a:pt x="457840" y="520428"/>
                    <a:pt x="455704" y="525227"/>
                    <a:pt x="455704" y="530826"/>
                  </a:cubicBezTo>
                  <a:cubicBezTo>
                    <a:pt x="455704" y="544690"/>
                    <a:pt x="467008" y="556066"/>
                    <a:pt x="480981" y="556066"/>
                  </a:cubicBezTo>
                  <a:cubicBezTo>
                    <a:pt x="495044" y="556066"/>
                    <a:pt x="506437" y="544779"/>
                    <a:pt x="506437" y="530826"/>
                  </a:cubicBezTo>
                  <a:cubicBezTo>
                    <a:pt x="506437" y="525227"/>
                    <a:pt x="504301" y="520251"/>
                    <a:pt x="501186" y="516162"/>
                  </a:cubicBezTo>
                  <a:cubicBezTo>
                    <a:pt x="496290" y="509630"/>
                    <a:pt x="488680" y="506364"/>
                    <a:pt x="481071" y="506364"/>
                  </a:cubicBezTo>
                  <a:close/>
                  <a:moveTo>
                    <a:pt x="126698" y="506364"/>
                  </a:moveTo>
                  <a:cubicBezTo>
                    <a:pt x="119088" y="506364"/>
                    <a:pt x="111478" y="509630"/>
                    <a:pt x="106628" y="516162"/>
                  </a:cubicBezTo>
                  <a:cubicBezTo>
                    <a:pt x="103424" y="520428"/>
                    <a:pt x="101287" y="525227"/>
                    <a:pt x="101287" y="530826"/>
                  </a:cubicBezTo>
                  <a:cubicBezTo>
                    <a:pt x="101287" y="544690"/>
                    <a:pt x="112591" y="556066"/>
                    <a:pt x="126565" y="556066"/>
                  </a:cubicBezTo>
                  <a:cubicBezTo>
                    <a:pt x="140450" y="556066"/>
                    <a:pt x="151931" y="544779"/>
                    <a:pt x="152020" y="530826"/>
                  </a:cubicBezTo>
                  <a:cubicBezTo>
                    <a:pt x="152020" y="525227"/>
                    <a:pt x="149884" y="520251"/>
                    <a:pt x="146769" y="516162"/>
                  </a:cubicBezTo>
                  <a:cubicBezTo>
                    <a:pt x="141918" y="509630"/>
                    <a:pt x="134308" y="506364"/>
                    <a:pt x="126698" y="506364"/>
                  </a:cubicBezTo>
                  <a:close/>
                  <a:moveTo>
                    <a:pt x="354520" y="328623"/>
                  </a:moveTo>
                  <a:lnTo>
                    <a:pt x="500562" y="328623"/>
                  </a:lnTo>
                  <a:cubicBezTo>
                    <a:pt x="510974" y="342321"/>
                    <a:pt x="522544" y="353885"/>
                    <a:pt x="531710" y="353885"/>
                  </a:cubicBezTo>
                  <a:lnTo>
                    <a:pt x="354520" y="353885"/>
                  </a:lnTo>
                  <a:close/>
                  <a:moveTo>
                    <a:pt x="227926" y="328623"/>
                  </a:moveTo>
                  <a:lnTo>
                    <a:pt x="303925" y="328623"/>
                  </a:lnTo>
                  <a:lnTo>
                    <a:pt x="303925" y="353885"/>
                  </a:lnTo>
                  <a:lnTo>
                    <a:pt x="227926" y="353885"/>
                  </a:lnTo>
                  <a:close/>
                  <a:moveTo>
                    <a:pt x="404971" y="50656"/>
                  </a:moveTo>
                  <a:lnTo>
                    <a:pt x="404971" y="101313"/>
                  </a:lnTo>
                  <a:lnTo>
                    <a:pt x="455704" y="101313"/>
                  </a:lnTo>
                  <a:lnTo>
                    <a:pt x="455704" y="50656"/>
                  </a:lnTo>
                  <a:close/>
                  <a:moveTo>
                    <a:pt x="379694" y="0"/>
                  </a:moveTo>
                  <a:lnTo>
                    <a:pt x="480892" y="0"/>
                  </a:lnTo>
                  <a:lnTo>
                    <a:pt x="531625" y="0"/>
                  </a:lnTo>
                  <a:cubicBezTo>
                    <a:pt x="545599" y="0"/>
                    <a:pt x="556902" y="11553"/>
                    <a:pt x="556902" y="25417"/>
                  </a:cubicBezTo>
                  <a:cubicBezTo>
                    <a:pt x="556902" y="39281"/>
                    <a:pt x="545599" y="50656"/>
                    <a:pt x="531625" y="50656"/>
                  </a:cubicBezTo>
                  <a:lnTo>
                    <a:pt x="506259" y="50656"/>
                  </a:lnTo>
                  <a:lnTo>
                    <a:pt x="506259" y="101046"/>
                  </a:lnTo>
                  <a:lnTo>
                    <a:pt x="531625" y="101046"/>
                  </a:lnTo>
                  <a:cubicBezTo>
                    <a:pt x="545599" y="101046"/>
                    <a:pt x="556902" y="112511"/>
                    <a:pt x="556902" y="126286"/>
                  </a:cubicBezTo>
                  <a:cubicBezTo>
                    <a:pt x="556902" y="140150"/>
                    <a:pt x="545599" y="151525"/>
                    <a:pt x="531625" y="151525"/>
                  </a:cubicBezTo>
                  <a:lnTo>
                    <a:pt x="480892" y="151525"/>
                  </a:lnTo>
                  <a:lnTo>
                    <a:pt x="379694" y="151525"/>
                  </a:lnTo>
                  <a:cubicBezTo>
                    <a:pt x="365720" y="151525"/>
                    <a:pt x="354417" y="140327"/>
                    <a:pt x="354417" y="126286"/>
                  </a:cubicBezTo>
                  <a:lnTo>
                    <a:pt x="354417" y="101046"/>
                  </a:lnTo>
                  <a:lnTo>
                    <a:pt x="101287" y="101046"/>
                  </a:lnTo>
                  <a:cubicBezTo>
                    <a:pt x="87492" y="101046"/>
                    <a:pt x="76010" y="112333"/>
                    <a:pt x="76010" y="126286"/>
                  </a:cubicBezTo>
                  <a:lnTo>
                    <a:pt x="76010" y="176853"/>
                  </a:lnTo>
                  <a:cubicBezTo>
                    <a:pt x="76010" y="252571"/>
                    <a:pt x="114193" y="252571"/>
                    <a:pt x="126743" y="252571"/>
                  </a:cubicBezTo>
                  <a:cubicBezTo>
                    <a:pt x="126743" y="252571"/>
                    <a:pt x="126921" y="252749"/>
                    <a:pt x="127010" y="252749"/>
                  </a:cubicBezTo>
                  <a:lnTo>
                    <a:pt x="133507" y="241640"/>
                  </a:lnTo>
                  <a:cubicBezTo>
                    <a:pt x="148638" y="216934"/>
                    <a:pt x="175517" y="202093"/>
                    <a:pt x="203732" y="202093"/>
                  </a:cubicBezTo>
                  <a:lnTo>
                    <a:pt x="374354" y="202093"/>
                  </a:lnTo>
                  <a:cubicBezTo>
                    <a:pt x="403013" y="202093"/>
                    <a:pt x="429092" y="216667"/>
                    <a:pt x="444134" y="240751"/>
                  </a:cubicBezTo>
                  <a:lnTo>
                    <a:pt x="467275" y="277988"/>
                  </a:lnTo>
                  <a:lnTo>
                    <a:pt x="329228" y="277988"/>
                  </a:lnTo>
                  <a:lnTo>
                    <a:pt x="202664" y="277988"/>
                  </a:lnTo>
                  <a:cubicBezTo>
                    <a:pt x="188601" y="277988"/>
                    <a:pt x="177297" y="289275"/>
                    <a:pt x="177297" y="303228"/>
                  </a:cubicBezTo>
                  <a:lnTo>
                    <a:pt x="177297" y="379124"/>
                  </a:lnTo>
                  <a:cubicBezTo>
                    <a:pt x="177297" y="392987"/>
                    <a:pt x="188601" y="404363"/>
                    <a:pt x="202664" y="404363"/>
                  </a:cubicBezTo>
                  <a:lnTo>
                    <a:pt x="329139" y="404363"/>
                  </a:lnTo>
                  <a:lnTo>
                    <a:pt x="329139" y="404274"/>
                  </a:lnTo>
                  <a:lnTo>
                    <a:pt x="607991" y="404274"/>
                  </a:lnTo>
                  <a:lnTo>
                    <a:pt x="607991" y="480170"/>
                  </a:lnTo>
                  <a:cubicBezTo>
                    <a:pt x="607991" y="508164"/>
                    <a:pt x="585206" y="530826"/>
                    <a:pt x="557347" y="530826"/>
                  </a:cubicBezTo>
                  <a:cubicBezTo>
                    <a:pt x="557347" y="572773"/>
                    <a:pt x="523259" y="606722"/>
                    <a:pt x="481426" y="606722"/>
                  </a:cubicBezTo>
                  <a:cubicBezTo>
                    <a:pt x="439416" y="606722"/>
                    <a:pt x="405416" y="572596"/>
                    <a:pt x="405416" y="530826"/>
                  </a:cubicBezTo>
                  <a:lnTo>
                    <a:pt x="202753" y="530826"/>
                  </a:lnTo>
                  <a:cubicBezTo>
                    <a:pt x="202753" y="572773"/>
                    <a:pt x="168753" y="606722"/>
                    <a:pt x="126743" y="606722"/>
                  </a:cubicBezTo>
                  <a:cubicBezTo>
                    <a:pt x="84733" y="606722"/>
                    <a:pt x="50733" y="572596"/>
                    <a:pt x="50733" y="530826"/>
                  </a:cubicBezTo>
                  <a:cubicBezTo>
                    <a:pt x="22696" y="530826"/>
                    <a:pt x="0" y="508253"/>
                    <a:pt x="0" y="480348"/>
                  </a:cubicBezTo>
                  <a:lnTo>
                    <a:pt x="0" y="404363"/>
                  </a:lnTo>
                  <a:cubicBezTo>
                    <a:pt x="0" y="376546"/>
                    <a:pt x="22696" y="354062"/>
                    <a:pt x="50733" y="353884"/>
                  </a:cubicBezTo>
                  <a:lnTo>
                    <a:pt x="67466" y="353884"/>
                  </a:lnTo>
                  <a:cubicBezTo>
                    <a:pt x="73874" y="345619"/>
                    <a:pt x="87581" y="321091"/>
                    <a:pt x="92476" y="312381"/>
                  </a:cubicBezTo>
                  <a:cubicBezTo>
                    <a:pt x="95413" y="307049"/>
                    <a:pt x="97994" y="302694"/>
                    <a:pt x="99774" y="299851"/>
                  </a:cubicBezTo>
                  <a:cubicBezTo>
                    <a:pt x="52691" y="287942"/>
                    <a:pt x="25188" y="244129"/>
                    <a:pt x="25188" y="176942"/>
                  </a:cubicBezTo>
                  <a:lnTo>
                    <a:pt x="25188" y="126286"/>
                  </a:lnTo>
                  <a:cubicBezTo>
                    <a:pt x="25188" y="84516"/>
                    <a:pt x="59277" y="50568"/>
                    <a:pt x="101198" y="50568"/>
                  </a:cubicBezTo>
                  <a:lnTo>
                    <a:pt x="354417" y="50568"/>
                  </a:lnTo>
                  <a:lnTo>
                    <a:pt x="354417" y="25328"/>
                  </a:lnTo>
                  <a:cubicBezTo>
                    <a:pt x="354417" y="11464"/>
                    <a:pt x="365720" y="0"/>
                    <a:pt x="37969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Project Management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6" name="Picture 45" descr="A screenshot of a computer&#10;&#10;Description automatically generated">
            <a:extLst>
              <a:ext uri="{FF2B5EF4-FFF2-40B4-BE49-F238E27FC236}">
                <a16:creationId xmlns:a16="http://schemas.microsoft.com/office/drawing/2014/main" id="{9ACC1827-A77F-CE02-D4D1-4A2FDF4042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3650" y="1234278"/>
            <a:ext cx="4984417" cy="2888281"/>
          </a:xfrm>
          <a:prstGeom prst="rect">
            <a:avLst/>
          </a:prstGeom>
        </p:spPr>
      </p:pic>
      <p:pic>
        <p:nvPicPr>
          <p:cNvPr id="48" name="Picture 47" descr="A screenshot of a computer&#10;&#10;Description automatically generated">
            <a:extLst>
              <a:ext uri="{FF2B5EF4-FFF2-40B4-BE49-F238E27FC236}">
                <a16:creationId xmlns:a16="http://schemas.microsoft.com/office/drawing/2014/main" id="{4AD9E50F-1AA4-018D-537C-6A48EB19D8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3429000"/>
            <a:ext cx="5068428" cy="2886075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011BAB26-F408-1ABD-4057-61F0608E1C31}"/>
              </a:ext>
            </a:extLst>
          </p:cNvPr>
          <p:cNvSpPr txBox="1"/>
          <p:nvPr/>
        </p:nvSpPr>
        <p:spPr>
          <a:xfrm>
            <a:off x="620249" y="1628685"/>
            <a:ext cx="51181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Trello’s use of boards, lists, and cards allows for a clear visual representation of tasks and stages. This helps team members understand the project flow and scope at a glance.</a:t>
            </a:r>
            <a:endParaRPr lang="zh-CN" altLang="en-US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ECC3768-57DC-EA36-1ED7-6CAB8BE1CF79}"/>
              </a:ext>
            </a:extLst>
          </p:cNvPr>
          <p:cNvSpPr txBox="1"/>
          <p:nvPr/>
        </p:nvSpPr>
        <p:spPr>
          <a:xfrm>
            <a:off x="6382212" y="4793261"/>
            <a:ext cx="48881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Easily move tasks between different stages, making it simple to update the project status and manage the workflow.</a:t>
            </a:r>
            <a:endParaRPr lang="zh-CN" alt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b="1" dirty="0">
                <a:cs typeface="+mn-ea"/>
                <a:sym typeface="+mn-lt"/>
              </a:rPr>
              <a:t>Communication and Collaboration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33" name="Picture 32" descr="A screenshot of a computer&#10;&#10;Description automatically generated">
            <a:extLst>
              <a:ext uri="{FF2B5EF4-FFF2-40B4-BE49-F238E27FC236}">
                <a16:creationId xmlns:a16="http://schemas.microsoft.com/office/drawing/2014/main" id="{783B467A-2599-F389-91F9-0324958BE0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389" y="2006434"/>
            <a:ext cx="5825098" cy="3158497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DFA74375-02DC-9836-9C51-F8F7D6F193BF}"/>
              </a:ext>
            </a:extLst>
          </p:cNvPr>
          <p:cNvSpPr txBox="1"/>
          <p:nvPr/>
        </p:nvSpPr>
        <p:spPr>
          <a:xfrm>
            <a:off x="669924" y="2274838"/>
            <a:ext cx="410730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asily share files, documents, and images directly within conversations, making it simple to collaborate on shared resources.</a:t>
            </a:r>
          </a:p>
          <a:p>
            <a:endParaRPr lang="en-US" altLang="zh-CN" dirty="0"/>
          </a:p>
          <a:p>
            <a:r>
              <a:rPr lang="en-US" altLang="zh-CN" dirty="0"/>
              <a:t>All messages and files are archived and searchable, making it easy to find past discussions and information.</a:t>
            </a:r>
            <a:endParaRPr lang="zh-CN" alt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b="1" dirty="0">
                <a:cs typeface="+mn-ea"/>
                <a:sym typeface="+mn-lt"/>
              </a:rPr>
              <a:t>Local Development Environment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0" name="图片占位符 10">
            <a:extLst>
              <a:ext uri="{FF2B5EF4-FFF2-40B4-BE49-F238E27FC236}">
                <a16:creationId xmlns:a16="http://schemas.microsoft.com/office/drawing/2014/main" id="{071A2ADE-BED3-7EFD-009D-57C04E2348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72264" y="1170047"/>
            <a:ext cx="3776662" cy="2366263"/>
          </a:xfrm>
          <a:prstGeom prst="rect">
            <a:avLst/>
          </a:prstGeom>
        </p:spPr>
      </p:pic>
      <p:pic>
        <p:nvPicPr>
          <p:cNvPr id="42" name="Picture 41" descr="A screen shot of a computer&#10;&#10;Description automatically generated">
            <a:extLst>
              <a:ext uri="{FF2B5EF4-FFF2-40B4-BE49-F238E27FC236}">
                <a16:creationId xmlns:a16="http://schemas.microsoft.com/office/drawing/2014/main" id="{E7F5B778-FC6E-6304-2E58-F04697F57E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987" y="3677657"/>
            <a:ext cx="4200525" cy="2826279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3ACE2562-9678-5842-AC33-FB0828F7771A}"/>
              </a:ext>
            </a:extLst>
          </p:cNvPr>
          <p:cNvSpPr txBox="1"/>
          <p:nvPr/>
        </p:nvSpPr>
        <p:spPr>
          <a:xfrm>
            <a:off x="1042987" y="1482712"/>
            <a:ext cx="442331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dirty="0">
                <a:latin typeface="+mn-ea"/>
              </a:rPr>
              <a:t>The main purpose of XAMPP suite is to enable users to set up a complete web development and testing environment on their local computer without being connected to the Internet.</a:t>
            </a:r>
            <a:endParaRPr lang="zh-CN" altLang="en-US" sz="1800" dirty="0">
              <a:latin typeface="+mn-ea"/>
            </a:endParaRPr>
          </a:p>
          <a:p>
            <a:endParaRPr lang="zh-CN" alt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1A1E1CA-5593-F374-9FAA-F65FC20A0BC3}"/>
              </a:ext>
            </a:extLst>
          </p:cNvPr>
          <p:cNvSpPr txBox="1"/>
          <p:nvPr/>
        </p:nvSpPr>
        <p:spPr>
          <a:xfrm>
            <a:off x="5979320" y="4250530"/>
            <a:ext cx="46648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Access a wide range of extensions specifically designed to enhance HTML development, such as live server previews, auto-completion, and tag management.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b="1" dirty="0">
                <a:cs typeface="+mn-ea"/>
                <a:sym typeface="+mn-lt"/>
              </a:rPr>
              <a:t>Version Control and Collaboration</a:t>
            </a: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53FA2BDD-C609-34FE-7658-940A7D80439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544" y="1951672"/>
            <a:ext cx="5703524" cy="33021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DFCF4B8-549B-489B-A405-24A231CCBE24}"/>
              </a:ext>
            </a:extLst>
          </p:cNvPr>
          <p:cNvSpPr txBox="1"/>
          <p:nvPr/>
        </p:nvSpPr>
        <p:spPr>
          <a:xfrm>
            <a:off x="669923" y="1951672"/>
            <a:ext cx="45092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View a detailed history of changes, including who made each change and why, facilitating accountability and transparency.</a:t>
            </a:r>
          </a:p>
          <a:p>
            <a:endParaRPr lang="en-US" altLang="zh-CN" dirty="0"/>
          </a:p>
          <a:p>
            <a:r>
              <a:rPr lang="en-US" altLang="zh-CN" dirty="0"/>
              <a:t>Visualize and manage workflows using GitHub Projects, which provide Kanban-style boards to organize tasks and track progress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47559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9f18d5fd-e32c-48ad-aa48-e7ba99fe7d2c"/>
</p:tagLst>
</file>

<file path=ppt/theme/theme1.xml><?xml version="1.0" encoding="utf-8"?>
<a:theme xmlns:a="http://schemas.openxmlformats.org/drawingml/2006/main" name="OfficePLUS主题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qzz3owr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7" ma:contentTypeDescription="Create a new document." ma:contentTypeScope="" ma:versionID="ae809626c8abf568b6a415226af21ced">
  <xsd:schema xmlns:xsd="http://www.w3.org/2001/XMLSchema" xmlns:xs="http://www.w3.org/2001/XMLSchema" xmlns:p="http://schemas.microsoft.com/office/2006/metadata/properties" xmlns:ns1="http://schemas.microsoft.com/sharepoint/v3" xmlns:ns2="0a5c0dea-e5d7-4228-9256-3793bb42faa5" xmlns:ns3="97934b4b-eba6-486d-bfc1-4b8e3fe39092" targetNamespace="http://schemas.microsoft.com/office/2006/metadata/properties" ma:root="true" ma:fieldsID="1ffe3db4c8c97a24da98b2b5f963ec28" ns1:_="" ns2:_="" ns3:_="">
    <xsd:import namespace="http://schemas.microsoft.com/sharepoint/v3"/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0C64E8-B197-46DE-82DB-8BF69275F43D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9E144D60-786B-49A7-A66F-179A2784D4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E68599-D7D3-4254-A3D4-DA6676EAF96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</TotalTime>
  <Words>367</Words>
  <Application>Microsoft Office PowerPoint</Application>
  <PresentationFormat>Widescreen</PresentationFormat>
  <Paragraphs>75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等线</vt:lpstr>
      <vt:lpstr>Arial</vt:lpstr>
      <vt:lpstr>Calibri</vt:lpstr>
      <vt:lpstr>Open Sans</vt:lpstr>
      <vt:lpstr>OfficePLUS主题</vt:lpstr>
      <vt:lpstr>think-cell Slide</vt:lpstr>
      <vt:lpstr>CP3402 Content Management System</vt:lpstr>
      <vt:lpstr>PowerPoint Presentation</vt:lpstr>
      <vt:lpstr>Team Members</vt:lpstr>
      <vt:lpstr>Development Platform</vt:lpstr>
      <vt:lpstr>Our Workflow</vt:lpstr>
      <vt:lpstr>Project Management</vt:lpstr>
      <vt:lpstr>Communication and Collaboration</vt:lpstr>
      <vt:lpstr>Local Development Environment</vt:lpstr>
      <vt:lpstr>Version Control and Collaboration</vt:lpstr>
      <vt:lpstr>Deploy to Staging Environment</vt:lpstr>
      <vt:lpstr>Live Site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Qingbo Tan</cp:lastModifiedBy>
  <cp:revision>17</cp:revision>
  <cp:lastPrinted>2019-11-25T16:00:00Z</cp:lastPrinted>
  <dcterms:created xsi:type="dcterms:W3CDTF">2019-11-25T16:00:00Z</dcterms:created>
  <dcterms:modified xsi:type="dcterms:W3CDTF">2024-07-28T14:2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145</vt:lpwstr>
  </property>
  <property fmtid="{D5CDD505-2E9C-101B-9397-08002B2CF9AE}" pid="4" name="ContentTypeId">
    <vt:lpwstr>0x010100D1443A8EF62DE444B1FF07917E22EF72</vt:lpwstr>
  </property>
</Properties>
</file>